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0"/>
  </p:notesMasterIdLst>
  <p:sldIdLst>
    <p:sldId id="257" r:id="rId6"/>
    <p:sldId id="2147481200" r:id="rId7"/>
    <p:sldId id="2147481201" r:id="rId8"/>
    <p:sldId id="2147483636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EF3"/>
    <a:srgbClr val="4168A3"/>
    <a:srgbClr val="2222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bastian Raphael Biggs" userId="7dcf7612-db76-403f-9e8c-ebf969c40680" providerId="ADAL" clId="{3DC02017-9333-4E32-B48F-C31CD2323A5F}"/>
    <pc:docChg chg="undo custSel modSld sldOrd">
      <pc:chgData name="Sebastian Raphael Biggs" userId="7dcf7612-db76-403f-9e8c-ebf969c40680" providerId="ADAL" clId="{3DC02017-9333-4E32-B48F-C31CD2323A5F}" dt="2024-07-05T14:34:28.917" v="122" actId="20577"/>
      <pc:docMkLst>
        <pc:docMk/>
      </pc:docMkLst>
      <pc:sldChg chg="modSp mod">
        <pc:chgData name="Sebastian Raphael Biggs" userId="7dcf7612-db76-403f-9e8c-ebf969c40680" providerId="ADAL" clId="{3DC02017-9333-4E32-B48F-C31CD2323A5F}" dt="2024-07-05T14:34:28.917" v="122" actId="20577"/>
        <pc:sldMkLst>
          <pc:docMk/>
          <pc:sldMk cId="2684432155" sldId="256"/>
        </pc:sldMkLst>
        <pc:spChg chg="mod">
          <ac:chgData name="Sebastian Raphael Biggs" userId="7dcf7612-db76-403f-9e8c-ebf969c40680" providerId="ADAL" clId="{3DC02017-9333-4E32-B48F-C31CD2323A5F}" dt="2024-07-05T14:34:28.917" v="122" actId="20577"/>
          <ac:spMkLst>
            <pc:docMk/>
            <pc:sldMk cId="2684432155" sldId="256"/>
            <ac:spMk id="8" creationId="{AFD44742-582B-B0EC-EC85-0860AD8ED173}"/>
          </ac:spMkLst>
        </pc:spChg>
        <pc:spChg chg="mod">
          <ac:chgData name="Sebastian Raphael Biggs" userId="7dcf7612-db76-403f-9e8c-ebf969c40680" providerId="ADAL" clId="{3DC02017-9333-4E32-B48F-C31CD2323A5F}" dt="2024-07-05T14:34:24.817" v="112"/>
          <ac:spMkLst>
            <pc:docMk/>
            <pc:sldMk cId="2684432155" sldId="256"/>
            <ac:spMk id="10" creationId="{ADF1C629-8103-A044-68C0-C155B880384E}"/>
          </ac:spMkLst>
        </pc:spChg>
      </pc:sldChg>
      <pc:sldChg chg="delSp modSp mod ord">
        <pc:chgData name="Sebastian Raphael Biggs" userId="7dcf7612-db76-403f-9e8c-ebf969c40680" providerId="ADAL" clId="{3DC02017-9333-4E32-B48F-C31CD2323A5F}" dt="2024-07-05T14:30:44.761" v="111"/>
        <pc:sldMkLst>
          <pc:docMk/>
          <pc:sldMk cId="1094818682" sldId="257"/>
        </pc:sldMkLst>
        <pc:spChg chg="mod">
          <ac:chgData name="Sebastian Raphael Biggs" userId="7dcf7612-db76-403f-9e8c-ebf969c40680" providerId="ADAL" clId="{3DC02017-9333-4E32-B48F-C31CD2323A5F}" dt="2024-07-05T14:29:46.278" v="29" actId="14100"/>
          <ac:spMkLst>
            <pc:docMk/>
            <pc:sldMk cId="1094818682" sldId="257"/>
            <ac:spMk id="2" creationId="{09597FF0-A370-CB74-DE9D-D26C89FDD8D8}"/>
          </ac:spMkLst>
        </pc:spChg>
        <pc:spChg chg="mod">
          <ac:chgData name="Sebastian Raphael Biggs" userId="7dcf7612-db76-403f-9e8c-ebf969c40680" providerId="ADAL" clId="{3DC02017-9333-4E32-B48F-C31CD2323A5F}" dt="2024-07-05T14:30:01.453" v="76" actId="20577"/>
          <ac:spMkLst>
            <pc:docMk/>
            <pc:sldMk cId="1094818682" sldId="257"/>
            <ac:spMk id="4" creationId="{BA250226-7D8F-EB76-2564-B3E033467FD5}"/>
          </ac:spMkLst>
        </pc:spChg>
        <pc:spChg chg="mod">
          <ac:chgData name="Sebastian Raphael Biggs" userId="7dcf7612-db76-403f-9e8c-ebf969c40680" providerId="ADAL" clId="{3DC02017-9333-4E32-B48F-C31CD2323A5F}" dt="2024-07-05T14:26:29.423" v="4" actId="1076"/>
          <ac:spMkLst>
            <pc:docMk/>
            <pc:sldMk cId="1094818682" sldId="257"/>
            <ac:spMk id="7" creationId="{9CCACC08-F31D-0941-10CE-F81843913F0E}"/>
          </ac:spMkLst>
        </pc:spChg>
        <pc:spChg chg="mod">
          <ac:chgData name="Sebastian Raphael Biggs" userId="7dcf7612-db76-403f-9e8c-ebf969c40680" providerId="ADAL" clId="{3DC02017-9333-4E32-B48F-C31CD2323A5F}" dt="2024-07-05T14:26:37.916" v="6" actId="14100"/>
          <ac:spMkLst>
            <pc:docMk/>
            <pc:sldMk cId="1094818682" sldId="257"/>
            <ac:spMk id="8" creationId="{AFD44742-582B-B0EC-EC85-0860AD8ED173}"/>
          </ac:spMkLst>
        </pc:spChg>
        <pc:spChg chg="mod">
          <ac:chgData name="Sebastian Raphael Biggs" userId="7dcf7612-db76-403f-9e8c-ebf969c40680" providerId="ADAL" clId="{3DC02017-9333-4E32-B48F-C31CD2323A5F}" dt="2024-07-05T14:30:09.372" v="86" actId="20577"/>
          <ac:spMkLst>
            <pc:docMk/>
            <pc:sldMk cId="1094818682" sldId="257"/>
            <ac:spMk id="15" creationId="{C6397005-3AF4-EE47-7CFA-02279D80A177}"/>
          </ac:spMkLst>
        </pc:spChg>
        <pc:spChg chg="mod">
          <ac:chgData name="Sebastian Raphael Biggs" userId="7dcf7612-db76-403f-9e8c-ebf969c40680" providerId="ADAL" clId="{3DC02017-9333-4E32-B48F-C31CD2323A5F}" dt="2024-07-05T14:30:15.561" v="102" actId="20577"/>
          <ac:spMkLst>
            <pc:docMk/>
            <pc:sldMk cId="1094818682" sldId="257"/>
            <ac:spMk id="17" creationId="{A44AB2F0-59AA-A877-3DD6-210D789D898D}"/>
          </ac:spMkLst>
        </pc:spChg>
        <pc:spChg chg="del">
          <ac:chgData name="Sebastian Raphael Biggs" userId="7dcf7612-db76-403f-9e8c-ebf969c40680" providerId="ADAL" clId="{3DC02017-9333-4E32-B48F-C31CD2323A5F}" dt="2024-07-05T14:30:19.627" v="103" actId="478"/>
          <ac:spMkLst>
            <pc:docMk/>
            <pc:sldMk cId="1094818682" sldId="257"/>
            <ac:spMk id="18" creationId="{BA237C98-B2C1-0407-5D85-F654652231C0}"/>
          </ac:spMkLst>
        </pc:spChg>
        <pc:spChg chg="del">
          <ac:chgData name="Sebastian Raphael Biggs" userId="7dcf7612-db76-403f-9e8c-ebf969c40680" providerId="ADAL" clId="{3DC02017-9333-4E32-B48F-C31CD2323A5F}" dt="2024-07-05T14:30:37.612" v="109" actId="478"/>
          <ac:spMkLst>
            <pc:docMk/>
            <pc:sldMk cId="1094818682" sldId="257"/>
            <ac:spMk id="19" creationId="{01A1BDB0-64B6-F2DA-B431-40510094B204}"/>
          </ac:spMkLst>
        </pc:spChg>
        <pc:spChg chg="del">
          <ac:chgData name="Sebastian Raphael Biggs" userId="7dcf7612-db76-403f-9e8c-ebf969c40680" providerId="ADAL" clId="{3DC02017-9333-4E32-B48F-C31CD2323A5F}" dt="2024-07-05T14:30:34.087" v="108" actId="478"/>
          <ac:spMkLst>
            <pc:docMk/>
            <pc:sldMk cId="1094818682" sldId="257"/>
            <ac:spMk id="20" creationId="{BA7B25CD-0181-80FC-B28D-4BB3D4EF6481}"/>
          </ac:spMkLst>
        </pc:spChg>
        <pc:spChg chg="del mod">
          <ac:chgData name="Sebastian Raphael Biggs" userId="7dcf7612-db76-403f-9e8c-ebf969c40680" providerId="ADAL" clId="{3DC02017-9333-4E32-B48F-C31CD2323A5F}" dt="2024-07-05T14:30:28.786" v="107" actId="478"/>
          <ac:spMkLst>
            <pc:docMk/>
            <pc:sldMk cId="1094818682" sldId="257"/>
            <ac:spMk id="21" creationId="{5DC97FDF-C353-E12B-F44E-219D6A8FBAE3}"/>
          </ac:spMkLst>
        </pc:spChg>
        <pc:spChg chg="del">
          <ac:chgData name="Sebastian Raphael Biggs" userId="7dcf7612-db76-403f-9e8c-ebf969c40680" providerId="ADAL" clId="{3DC02017-9333-4E32-B48F-C31CD2323A5F}" dt="2024-07-05T14:30:23.851" v="105" actId="478"/>
          <ac:spMkLst>
            <pc:docMk/>
            <pc:sldMk cId="1094818682" sldId="257"/>
            <ac:spMk id="22" creationId="{E1AE290C-0CD4-4ED8-8FCF-31BFCA7C4B7E}"/>
          </ac:spMkLst>
        </pc:spChg>
        <pc:spChg chg="del">
          <ac:chgData name="Sebastian Raphael Biggs" userId="7dcf7612-db76-403f-9e8c-ebf969c40680" providerId="ADAL" clId="{3DC02017-9333-4E32-B48F-C31CD2323A5F}" dt="2024-07-05T14:30:26.303" v="106" actId="478"/>
          <ac:spMkLst>
            <pc:docMk/>
            <pc:sldMk cId="1094818682" sldId="257"/>
            <ac:spMk id="23" creationId="{DB2D3D80-3C1E-31FE-82A5-66F402D80F82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9713A3-7EDD-4E0A-9069-AB82A7D01A39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5ABFD7-A03F-4D41-9ED7-A6550E2B673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80463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tandard title sli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4EC7EF-95E1-3D44-A982-BC7A3E9C617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57560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Relationship Id="rId9" Type="http://schemas.openxmlformats.org/officeDocument/2006/relationships/image" Target="../media/image18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19.emf"/><Relationship Id="rId4" Type="http://schemas.openxmlformats.org/officeDocument/2006/relationships/tags" Target="../tags/tag5.xml"/><Relationship Id="rId9" Type="http://schemas.openxmlformats.org/officeDocument/2006/relationships/oleObject" Target="../embeddings/oleObject1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55E819-D035-C222-1BC3-DF683EEFBE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9C5300-C9BE-C349-39AA-27916FC2B8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B9DDB5-F000-5509-7972-C5368EBC1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FFA36-FBB9-470A-A9BD-661A3914E69C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B111BC-4AB8-BF39-B834-13A61BEE4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DAD1C6-25EA-6FF8-392E-2DEE666249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1FD78-9BA6-4D58-B554-8E123F1610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64100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4470D-FD63-15FA-A423-247092404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660451-B565-E013-E865-652CC67446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8034C-2252-BDC6-78BF-2DF6499BCE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FFA36-FBB9-470A-A9BD-661A3914E69C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CC09E4-AD6A-33BE-295F-483369C6FF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6477A3-F18D-3335-597D-2F410E010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1FD78-9BA6-4D58-B554-8E123F1610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36866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0E963B3-C377-2EC6-C4F5-D507A95E79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0FA2A8-4573-1CA5-781E-C234C945BB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3CBDE3-EE20-E73A-9EC4-98B423B3BB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FFA36-FBB9-470A-A9BD-661A3914E69C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5408E4-E9E0-F4D9-6506-33A2337906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58B29B-953A-F53A-9811-C0A3EF476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1FD78-9BA6-4D58-B554-8E123F1610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1888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, content, basic text one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32DDCA5-A307-96EA-64A8-CCBA8E5F6393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7413" y="3166643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2708" y="2106000"/>
            <a:ext cx="7632000" cy="402644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 b="0">
                <a:solidFill>
                  <a:schemeClr val="accent6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91C7AB-7F8B-2041-80C3-EE781F24EB94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258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C74A26B3-AA54-E4E3-F815-2DD0B5B502BC}"/>
              </a:ext>
            </a:extLst>
          </p:cNvPr>
          <p:cNvSpPr/>
          <p:nvPr userDrawn="1"/>
        </p:nvSpPr>
        <p:spPr>
          <a:xfrm>
            <a:off x="-14636" y="-34893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1" name="Picture 30" descr="A picture containing icon&#10;&#10;Description automatically generated">
            <a:extLst>
              <a:ext uri="{FF2B5EF4-FFF2-40B4-BE49-F238E27FC236}">
                <a16:creationId xmlns:a16="http://schemas.microsoft.com/office/drawing/2014/main" id="{598E9D71-498A-0294-DB92-FA8A45963C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330720" y="-508517"/>
            <a:ext cx="11319578" cy="800566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D054BE-B63C-B248-A010-D04767679C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4176" y="1189038"/>
            <a:ext cx="5112056" cy="250769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defRPr sz="4400" b="1" spc="-30" baseline="0">
                <a:solidFill>
                  <a:schemeClr val="accent2"/>
                </a:solidFill>
              </a:defRPr>
            </a:lvl1pPr>
          </a:lstStyle>
          <a:p>
            <a:r>
              <a:rPr lang="en-GB"/>
              <a:t>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B3AB80-4EA2-FC4A-9654-92EF4DFF45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4176" y="4121109"/>
            <a:ext cx="5112056" cy="102496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80857E-40D1-074A-8CBC-E3E38E695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3002280" cy="365125"/>
          </a:xfrm>
          <a:prstGeom prst="rect">
            <a:avLst/>
          </a:prstGeom>
        </p:spPr>
        <p:txBody>
          <a:bodyPr/>
          <a:lstStyle/>
          <a:p>
            <a:fld id="{B8B67EA4-DCE3-FB49-A794-A4595EF638BC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91DEB39-6B31-D948-AF21-75D8DF423B1B}"/>
              </a:ext>
            </a:extLst>
          </p:cNvPr>
          <p:cNvSpPr txBox="1"/>
          <p:nvPr userDrawn="1"/>
        </p:nvSpPr>
        <p:spPr>
          <a:xfrm>
            <a:off x="3225114" y="601774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8E63D1E-5669-124C-90CA-03B13A7D7A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4176" y="5686425"/>
            <a:ext cx="5112056" cy="4889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accent2"/>
                </a:solidFill>
              </a:defRPr>
            </a:lvl2pPr>
            <a:lvl3pPr marL="714375" indent="0">
              <a:buNone/>
              <a:defRPr>
                <a:solidFill>
                  <a:schemeClr val="accent2"/>
                </a:solidFill>
              </a:defRPr>
            </a:lvl3pPr>
            <a:lvl4pPr marL="1081087" indent="0">
              <a:buNone/>
              <a:defRPr>
                <a:solidFill>
                  <a:schemeClr val="accent2"/>
                </a:solidFill>
              </a:defRPr>
            </a:lvl4pPr>
            <a:lvl5pPr marL="1438275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F2A1D7-0D87-D844-942F-FEAD20579184}"/>
              </a:ext>
            </a:extLst>
          </p:cNvPr>
          <p:cNvSpPr txBox="1"/>
          <p:nvPr userDrawn="1"/>
        </p:nvSpPr>
        <p:spPr>
          <a:xfrm>
            <a:off x="9233452" y="5486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28D04FEF-6120-D9DF-6018-2393FD137B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51045" y="364425"/>
            <a:ext cx="1208955" cy="97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73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ple-Icons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91C7AB-7F8B-2041-80C3-EE781F24EB94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4741F68A-44AA-5742-B124-91614CFD14BB}"/>
              </a:ext>
            </a:extLst>
          </p:cNvPr>
          <p:cNvSpPr/>
          <p:nvPr userDrawn="1"/>
        </p:nvSpPr>
        <p:spPr>
          <a:xfrm>
            <a:off x="383058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568E66E-4300-C34D-B490-E2E6A73E585A}"/>
              </a:ext>
            </a:extLst>
          </p:cNvPr>
          <p:cNvSpPr/>
          <p:nvPr userDrawn="1"/>
        </p:nvSpPr>
        <p:spPr>
          <a:xfrm>
            <a:off x="383058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337980B-A75B-014B-A7A8-965882204640}"/>
              </a:ext>
            </a:extLst>
          </p:cNvPr>
          <p:cNvSpPr/>
          <p:nvPr userDrawn="1"/>
        </p:nvSpPr>
        <p:spPr>
          <a:xfrm>
            <a:off x="1534525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8B5FF7D-C2EF-9E4C-A4CF-A835052E5DF8}"/>
              </a:ext>
            </a:extLst>
          </p:cNvPr>
          <p:cNvSpPr/>
          <p:nvPr userDrawn="1"/>
        </p:nvSpPr>
        <p:spPr>
          <a:xfrm>
            <a:off x="2685992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77481C1-F4F0-BE4E-B991-152BB9620270}"/>
              </a:ext>
            </a:extLst>
          </p:cNvPr>
          <p:cNvSpPr/>
          <p:nvPr userDrawn="1"/>
        </p:nvSpPr>
        <p:spPr>
          <a:xfrm>
            <a:off x="3837459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FBC860F-BE8A-634D-9A96-33CE6D96B9F0}"/>
              </a:ext>
            </a:extLst>
          </p:cNvPr>
          <p:cNvSpPr/>
          <p:nvPr userDrawn="1"/>
        </p:nvSpPr>
        <p:spPr>
          <a:xfrm>
            <a:off x="4988926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A913FF-786C-1944-BF18-E9AB064B3444}"/>
              </a:ext>
            </a:extLst>
          </p:cNvPr>
          <p:cNvSpPr/>
          <p:nvPr userDrawn="1"/>
        </p:nvSpPr>
        <p:spPr>
          <a:xfrm>
            <a:off x="6140393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C22D839-E390-8340-B649-B4FC5A6CFD70}"/>
              </a:ext>
            </a:extLst>
          </p:cNvPr>
          <p:cNvSpPr/>
          <p:nvPr userDrawn="1"/>
        </p:nvSpPr>
        <p:spPr>
          <a:xfrm>
            <a:off x="7291860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640EE3D-EEFC-874A-A65B-DDDE03FC3221}"/>
              </a:ext>
            </a:extLst>
          </p:cNvPr>
          <p:cNvSpPr/>
          <p:nvPr userDrawn="1"/>
        </p:nvSpPr>
        <p:spPr>
          <a:xfrm>
            <a:off x="8443327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667BF2-B8EF-D949-9F15-FC3B3099AD58}"/>
              </a:ext>
            </a:extLst>
          </p:cNvPr>
          <p:cNvSpPr/>
          <p:nvPr userDrawn="1"/>
        </p:nvSpPr>
        <p:spPr>
          <a:xfrm>
            <a:off x="9594794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7201170-3375-514F-99C2-E37C6903968A}"/>
              </a:ext>
            </a:extLst>
          </p:cNvPr>
          <p:cNvSpPr/>
          <p:nvPr userDrawn="1"/>
        </p:nvSpPr>
        <p:spPr>
          <a:xfrm>
            <a:off x="10746258" y="1811216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E18572B-1544-A043-9B02-7AB01C90C51F}"/>
              </a:ext>
            </a:extLst>
          </p:cNvPr>
          <p:cNvSpPr/>
          <p:nvPr userDrawn="1"/>
        </p:nvSpPr>
        <p:spPr>
          <a:xfrm>
            <a:off x="1534525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D2BEC2-9D68-CC4D-A04A-BB949A02D509}"/>
              </a:ext>
            </a:extLst>
          </p:cNvPr>
          <p:cNvSpPr/>
          <p:nvPr userDrawn="1"/>
        </p:nvSpPr>
        <p:spPr>
          <a:xfrm>
            <a:off x="2685992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7415083-D44F-FE40-A8D1-7BFAC700DF6C}"/>
              </a:ext>
            </a:extLst>
          </p:cNvPr>
          <p:cNvSpPr/>
          <p:nvPr userDrawn="1"/>
        </p:nvSpPr>
        <p:spPr>
          <a:xfrm>
            <a:off x="3837459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E67BC68-4FB2-EE4A-A33E-6A7AF0CF413F}"/>
              </a:ext>
            </a:extLst>
          </p:cNvPr>
          <p:cNvSpPr/>
          <p:nvPr userDrawn="1"/>
        </p:nvSpPr>
        <p:spPr>
          <a:xfrm>
            <a:off x="4988926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277C142-7A53-7A4A-A8FB-FBF33048E364}"/>
              </a:ext>
            </a:extLst>
          </p:cNvPr>
          <p:cNvSpPr/>
          <p:nvPr userDrawn="1"/>
        </p:nvSpPr>
        <p:spPr>
          <a:xfrm>
            <a:off x="6140393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ADC5831-BE66-5045-87AF-18EBDF02747B}"/>
              </a:ext>
            </a:extLst>
          </p:cNvPr>
          <p:cNvSpPr/>
          <p:nvPr userDrawn="1"/>
        </p:nvSpPr>
        <p:spPr>
          <a:xfrm>
            <a:off x="7291860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B65DE4-B016-474E-A1C1-495957C7CA04}"/>
              </a:ext>
            </a:extLst>
          </p:cNvPr>
          <p:cNvSpPr/>
          <p:nvPr userDrawn="1"/>
        </p:nvSpPr>
        <p:spPr>
          <a:xfrm>
            <a:off x="8443327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8B3AA15-3E6B-C347-B0BE-F416C5684A23}"/>
              </a:ext>
            </a:extLst>
          </p:cNvPr>
          <p:cNvSpPr/>
          <p:nvPr userDrawn="1"/>
        </p:nvSpPr>
        <p:spPr>
          <a:xfrm>
            <a:off x="9594794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AC0924D-A95B-1E43-84A3-825886C48DD3}"/>
              </a:ext>
            </a:extLst>
          </p:cNvPr>
          <p:cNvSpPr/>
          <p:nvPr userDrawn="1"/>
        </p:nvSpPr>
        <p:spPr>
          <a:xfrm>
            <a:off x="10746258" y="3175160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A6737CC-78B4-0C46-99B9-341CFA60EF40}"/>
              </a:ext>
            </a:extLst>
          </p:cNvPr>
          <p:cNvSpPr/>
          <p:nvPr userDrawn="1"/>
        </p:nvSpPr>
        <p:spPr>
          <a:xfrm>
            <a:off x="383058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2455CAA-C332-E746-A62B-4F86F892F94A}"/>
              </a:ext>
            </a:extLst>
          </p:cNvPr>
          <p:cNvSpPr/>
          <p:nvPr userDrawn="1"/>
        </p:nvSpPr>
        <p:spPr>
          <a:xfrm>
            <a:off x="1534525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F322EA-8B44-2C46-9412-34692FAFE8CB}"/>
              </a:ext>
            </a:extLst>
          </p:cNvPr>
          <p:cNvSpPr/>
          <p:nvPr userDrawn="1"/>
        </p:nvSpPr>
        <p:spPr>
          <a:xfrm>
            <a:off x="2685992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DB462B7-0B7F-EA46-9EFF-D26991D2304D}"/>
              </a:ext>
            </a:extLst>
          </p:cNvPr>
          <p:cNvSpPr/>
          <p:nvPr userDrawn="1"/>
        </p:nvSpPr>
        <p:spPr>
          <a:xfrm>
            <a:off x="3837459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F522785-C8F3-734E-AF20-487FED2CEBCA}"/>
              </a:ext>
            </a:extLst>
          </p:cNvPr>
          <p:cNvSpPr/>
          <p:nvPr userDrawn="1"/>
        </p:nvSpPr>
        <p:spPr>
          <a:xfrm>
            <a:off x="4988926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98AD1D6-A541-1941-8B56-2FF0936767C6}"/>
              </a:ext>
            </a:extLst>
          </p:cNvPr>
          <p:cNvSpPr/>
          <p:nvPr userDrawn="1"/>
        </p:nvSpPr>
        <p:spPr>
          <a:xfrm>
            <a:off x="6140393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844F750-124C-F246-BCDD-67595B93DC88}"/>
              </a:ext>
            </a:extLst>
          </p:cNvPr>
          <p:cNvSpPr/>
          <p:nvPr userDrawn="1"/>
        </p:nvSpPr>
        <p:spPr>
          <a:xfrm>
            <a:off x="7291860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5499656-96AE-C649-B3C1-81D5C6F60DA6}"/>
              </a:ext>
            </a:extLst>
          </p:cNvPr>
          <p:cNvSpPr/>
          <p:nvPr userDrawn="1"/>
        </p:nvSpPr>
        <p:spPr>
          <a:xfrm>
            <a:off x="8443327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3150134-3C23-2A41-8EC0-2D0F308CD2FE}"/>
              </a:ext>
            </a:extLst>
          </p:cNvPr>
          <p:cNvSpPr/>
          <p:nvPr userDrawn="1"/>
        </p:nvSpPr>
        <p:spPr>
          <a:xfrm>
            <a:off x="9594794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A542EAC-EEE9-2748-9DAC-6986FFF6348A}"/>
              </a:ext>
            </a:extLst>
          </p:cNvPr>
          <p:cNvSpPr/>
          <p:nvPr userDrawn="1"/>
        </p:nvSpPr>
        <p:spPr>
          <a:xfrm>
            <a:off x="10746258" y="4539104"/>
            <a:ext cx="1047157" cy="10246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1CDB1A-8B42-520A-323D-5D120AA42E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122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ample-Icons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BDF01C83-A866-28AC-7B1F-38947CCF6D80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91C7AB-7F8B-2041-80C3-EE781F24EB94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4741F68A-44AA-5742-B124-91614CFD14BB}"/>
              </a:ext>
            </a:extLst>
          </p:cNvPr>
          <p:cNvSpPr/>
          <p:nvPr userDrawn="1"/>
        </p:nvSpPr>
        <p:spPr>
          <a:xfrm>
            <a:off x="383058" y="3175160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E18572B-1544-A043-9B02-7AB01C90C51F}"/>
              </a:ext>
            </a:extLst>
          </p:cNvPr>
          <p:cNvSpPr/>
          <p:nvPr userDrawn="1"/>
        </p:nvSpPr>
        <p:spPr>
          <a:xfrm>
            <a:off x="1534525" y="3175160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8D2BEC2-9D68-CC4D-A04A-BB949A02D509}"/>
              </a:ext>
            </a:extLst>
          </p:cNvPr>
          <p:cNvSpPr/>
          <p:nvPr userDrawn="1"/>
        </p:nvSpPr>
        <p:spPr>
          <a:xfrm>
            <a:off x="2685992" y="3175160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7415083-D44F-FE40-A8D1-7BFAC700DF6C}"/>
              </a:ext>
            </a:extLst>
          </p:cNvPr>
          <p:cNvSpPr/>
          <p:nvPr userDrawn="1"/>
        </p:nvSpPr>
        <p:spPr>
          <a:xfrm>
            <a:off x="3837459" y="3175160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A6737CC-78B4-0C46-99B9-341CFA60EF40}"/>
              </a:ext>
            </a:extLst>
          </p:cNvPr>
          <p:cNvSpPr/>
          <p:nvPr userDrawn="1"/>
        </p:nvSpPr>
        <p:spPr>
          <a:xfrm>
            <a:off x="383058" y="4544899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2455CAA-C332-E746-A62B-4F86F892F94A}"/>
              </a:ext>
            </a:extLst>
          </p:cNvPr>
          <p:cNvSpPr/>
          <p:nvPr userDrawn="1"/>
        </p:nvSpPr>
        <p:spPr>
          <a:xfrm>
            <a:off x="1534525" y="4544899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F322EA-8B44-2C46-9412-34692FAFE8CB}"/>
              </a:ext>
            </a:extLst>
          </p:cNvPr>
          <p:cNvSpPr/>
          <p:nvPr userDrawn="1"/>
        </p:nvSpPr>
        <p:spPr>
          <a:xfrm>
            <a:off x="2685992" y="4544899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DB462B7-0B7F-EA46-9EFF-D26991D2304D}"/>
              </a:ext>
            </a:extLst>
          </p:cNvPr>
          <p:cNvSpPr/>
          <p:nvPr userDrawn="1"/>
        </p:nvSpPr>
        <p:spPr>
          <a:xfrm>
            <a:off x="3837459" y="4544899"/>
            <a:ext cx="1047157" cy="1024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510BDAA4-2C6C-4E47-9616-5977DD23D840}"/>
              </a:ext>
            </a:extLst>
          </p:cNvPr>
          <p:cNvSpPr/>
          <p:nvPr userDrawn="1"/>
        </p:nvSpPr>
        <p:spPr>
          <a:xfrm>
            <a:off x="5122911" y="3175160"/>
            <a:ext cx="1991467" cy="19486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691AF0D-B60D-2949-AB30-089AD6A4A5A1}"/>
              </a:ext>
            </a:extLst>
          </p:cNvPr>
          <p:cNvSpPr/>
          <p:nvPr userDrawn="1"/>
        </p:nvSpPr>
        <p:spPr>
          <a:xfrm>
            <a:off x="7474153" y="3175160"/>
            <a:ext cx="1991467" cy="19486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76B0456-3FC3-5D44-A9F1-56A57FD0B992}"/>
              </a:ext>
            </a:extLst>
          </p:cNvPr>
          <p:cNvSpPr/>
          <p:nvPr userDrawn="1"/>
        </p:nvSpPr>
        <p:spPr>
          <a:xfrm>
            <a:off x="9825395" y="3175160"/>
            <a:ext cx="1991467" cy="194866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569F651-3737-5832-DC5A-9DB8A57B6C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A1CA835D-248C-29AB-B7DE-5AD7C7D2A8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1989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head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A60DD58-05DE-E835-E697-CB9A9B0B94EE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2735992"/>
            <a:ext cx="11088000" cy="3456000"/>
          </a:xfrm>
          <a:prstGeom prst="rect">
            <a:avLst/>
          </a:prstGeom>
        </p:spPr>
        <p:txBody>
          <a:bodyPr lIns="0" tIns="0" rIns="0" bIns="0" numCol="2" spcCol="43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2200" b="0">
                <a:solidFill>
                  <a:schemeClr val="accent6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accent6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</p:spPr>
        <p:txBody>
          <a:bodyPr lIns="0" tIns="0" rIns="0" bIns="0" numCol="2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  <a:defRPr sz="24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 if need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E4AB90-2CB6-0646-B56C-4B58E33EC9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8E2133D-2149-6B45-BEAB-A2D5E225B5AD}"/>
              </a:ext>
            </a:extLst>
          </p:cNvPr>
          <p:cNvCxnSpPr>
            <a:cxnSpLocks/>
          </p:cNvCxnSpPr>
          <p:nvPr userDrawn="1"/>
        </p:nvCxnSpPr>
        <p:spPr>
          <a:xfrm>
            <a:off x="408789" y="6336000"/>
            <a:ext cx="1139921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EBB79D01-2A70-DAF1-6A65-BC0424C2FE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010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, subhead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EA60DD58-05DE-E835-E697-CB9A9B0B94EE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E4AB90-2CB6-0646-B56C-4B58E33EC9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261" y="542924"/>
            <a:ext cx="10278629" cy="52505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defRPr sz="30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8E2133D-2149-6B45-BEAB-A2D5E225B5AD}"/>
              </a:ext>
            </a:extLst>
          </p:cNvPr>
          <p:cNvCxnSpPr>
            <a:cxnSpLocks/>
          </p:cNvCxnSpPr>
          <p:nvPr userDrawn="1"/>
        </p:nvCxnSpPr>
        <p:spPr>
          <a:xfrm>
            <a:off x="408789" y="6336000"/>
            <a:ext cx="1139921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129FE9CC-24C2-9AAC-6340-A9E7BC3249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7095" y="244040"/>
            <a:ext cx="3064672" cy="187960"/>
          </a:xfrm>
          <a:prstGeom prst="rect">
            <a:avLst/>
          </a:prstGeom>
        </p:spPr>
      </p:pic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886F3FEE-E7DE-523E-2919-439039F88E4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41519" y="414285"/>
            <a:ext cx="956781" cy="77541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C675E09-B084-014E-7F24-48FFDFAF844A}"/>
              </a:ext>
            </a:extLst>
          </p:cNvPr>
          <p:cNvSpPr/>
          <p:nvPr userDrawn="1"/>
        </p:nvSpPr>
        <p:spPr>
          <a:xfrm>
            <a:off x="10746659" y="0"/>
            <a:ext cx="1445342" cy="26835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bg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418411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, subhead,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5C4A9B1-8C9A-5B25-6E7A-B9589ECCAD85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2000" y="2736000"/>
            <a:ext cx="11088000" cy="3456000"/>
          </a:xfrm>
          <a:prstGeom prst="rect">
            <a:avLst/>
          </a:prstGeom>
        </p:spPr>
        <p:txBody>
          <a:bodyPr lIns="0" tIns="0" rIns="0" bIns="0" numCol="3" spcCol="43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None/>
              <a:defRPr sz="2200" b="0">
                <a:solidFill>
                  <a:schemeClr val="accent6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accent6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2087999"/>
            <a:ext cx="11050700" cy="462017"/>
          </a:xfrm>
          <a:prstGeom prst="rect">
            <a:avLst/>
          </a:prstGeom>
        </p:spPr>
        <p:txBody>
          <a:bodyPr lIns="0" tIns="0" rIns="0" bIns="0" numCol="2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  <a:defRPr sz="24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 if need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7E4AB90-2CB6-0646-B56C-4B58E33EC9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86518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A9D545D-FD2F-4843-8588-07EBE7DDAA13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487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707F89CB-5AF7-9C7B-6503-F287E127E8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608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lide with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2C3761D-E146-5B7A-CD68-6CC98EA19A5F}"/>
              </a:ext>
            </a:extLst>
          </p:cNvPr>
          <p:cNvSpPr/>
          <p:nvPr userDrawn="1"/>
        </p:nvSpPr>
        <p:spPr>
          <a:xfrm>
            <a:off x="0" y="0"/>
            <a:ext cx="6096000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4093" y="1647568"/>
            <a:ext cx="4909569" cy="313006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ts val="42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line over a number of lines,</a:t>
            </a:r>
            <a:br>
              <a:rPr lang="en-GB"/>
            </a:br>
            <a:r>
              <a:rPr lang="en-GB"/>
              <a:t>keep to maximum of four lin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pPr algn="r"/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EF456E7-F404-A541-B6E9-27C1B10EC60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</p:spTree>
    <p:extLst>
      <p:ext uri="{BB962C8B-B14F-4D97-AF65-F5344CB8AC3E}">
        <p14:creationId xmlns:p14="http://schemas.microsoft.com/office/powerpoint/2010/main" val="64776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59378F-0C95-15D8-E4B6-0F3987354F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ACAB46-10E7-3B67-8AAD-752E75E93F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AFC90C-C264-FAE6-D139-0026BF4C46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FFA36-FBB9-470A-A9BD-661A3914E69C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7727ED-D491-64F7-DAEF-3E09E0032F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4EC708-81A6-5FD7-B3D1-FB44C86FA4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1FD78-9BA6-4D58-B554-8E123F1610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18926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large Cent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6BFC8184-A52B-1D58-DCBB-64F070DB04AB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F1649F8-C95E-B04E-A0E7-F89193CC9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4367" y="1180298"/>
            <a:ext cx="9811265" cy="298323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4200" b="0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“Showcase quotation</a:t>
            </a:r>
            <a:br>
              <a:rPr lang="en-GB"/>
            </a:br>
            <a:r>
              <a:rPr lang="en-GB"/>
              <a:t>with centred text over multiple</a:t>
            </a:r>
            <a:br>
              <a:rPr lang="en-GB"/>
            </a:br>
            <a:r>
              <a:rPr lang="en-GB"/>
              <a:t>lines, try to make a harmonious shape like a diamond or </a:t>
            </a:r>
            <a:r>
              <a:rPr lang="en-GB" err="1"/>
              <a:t>xmas</a:t>
            </a:r>
            <a:r>
              <a:rPr lang="en-GB"/>
              <a:t> tree or</a:t>
            </a:r>
            <a:br>
              <a:rPr lang="en-GB"/>
            </a:br>
            <a:r>
              <a:rPr lang="en-GB"/>
              <a:t>something similar”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D406466E-798B-BE4C-B09F-C1B1244AAB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50923" y="5096236"/>
            <a:ext cx="3890150" cy="8969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200" b="1">
                <a:solidFill>
                  <a:schemeClr val="accent6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Name Surname,</a:t>
            </a:r>
            <a:br>
              <a:rPr lang="en-GB"/>
            </a:br>
            <a:r>
              <a:rPr lang="en-GB"/>
              <a:t>Job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1AA706-8AF6-8441-8070-06566C40A690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8486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42D3EEB-DBD8-CD48-C723-5F35F1DADF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032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Grid Boxes 4UP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7721" y="2088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B540671A-ED56-3548-A508-080ABBDB5E58}"/>
              </a:ext>
            </a:extLst>
          </p:cNvPr>
          <p:cNvSpPr/>
          <p:nvPr userDrawn="1"/>
        </p:nvSpPr>
        <p:spPr>
          <a:xfrm>
            <a:off x="2277721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31884" y="2089034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6231884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77721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</a:extLst>
          </p:cNvPr>
          <p:cNvSpPr/>
          <p:nvPr userDrawn="1"/>
        </p:nvSpPr>
        <p:spPr>
          <a:xfrm>
            <a:off x="2277721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1884" y="465042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</a:extLst>
          </p:cNvPr>
          <p:cNvSpPr/>
          <p:nvPr userDrawn="1"/>
        </p:nvSpPr>
        <p:spPr>
          <a:xfrm>
            <a:off x="6239447" y="375220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ACF78F6-439A-384B-9C21-D11B5B50E0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F244FF8-F4E4-0514-77D0-8D8D69F933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DBEB741-20EA-C36A-7EF8-DE1CD1F1AA0C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8486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04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Grid Boxes 2UP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9B26CA0-4967-284E-42B6-5686F8C6B07B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000" y="2699082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2000" y="1691082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24378" y="2699082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4324378" y="1691082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5DD270E-858A-0745-A4F5-3FE5B4919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FD787DC-00EF-B13A-FE97-CE51273E86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0783BA3-377B-7D8A-0B7B-91C314676A0C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8486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663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rid, Titles 4UP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28BBC9FB-69CA-ACB9-E6B9-6E2830215B65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205929B3-ED58-E54F-B724-E24FB5F163DF}"/>
              </a:ext>
            </a:extLst>
          </p:cNvPr>
          <p:cNvSpPr/>
          <p:nvPr userDrawn="1"/>
        </p:nvSpPr>
        <p:spPr>
          <a:xfrm>
            <a:off x="432000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2000" y="2088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92000" y="2089034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92000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4644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</a:extLst>
          </p:cNvPr>
          <p:cNvSpPr/>
          <p:nvPr userDrawn="1"/>
        </p:nvSpPr>
        <p:spPr>
          <a:xfrm>
            <a:off x="432000" y="3744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92000" y="4644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</a:extLst>
          </p:cNvPr>
          <p:cNvSpPr/>
          <p:nvPr userDrawn="1"/>
        </p:nvSpPr>
        <p:spPr>
          <a:xfrm>
            <a:off x="4392000" y="3744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7F5640E1-FA0E-4F42-9387-CD7C434D2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F555C5-A77A-2E44-BAF7-246298421E1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0000" y="1296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D4B913F3-B51C-1F4F-BA00-F024BBF468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0000" y="1302462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A16CC21-F99A-6F47-A063-FA9FE06BAE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0000" y="3852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11DBD00-D83F-EF49-900D-B6C65CED27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00000" y="3852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9357DCD-A469-B34A-A880-D744CA731C14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BA4CC6C-41AA-2D50-A8B9-63559566F4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83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 Grid Boxes 2UP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DECF5444-DD33-9C60-EE5C-BAE130A1CBF5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6871" y="2743014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66871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59249" y="2743014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8259249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88166480-FB4D-C34C-807C-7BA7DD328F6E}"/>
              </a:ext>
            </a:extLst>
          </p:cNvPr>
          <p:cNvSpPr>
            <a:spLocks noGrp="1"/>
          </p:cNvSpPr>
          <p:nvPr>
            <p:ph sz="quarter" idx="4294967295" hasCustomPrompt="1"/>
          </p:nvPr>
        </p:nvSpPr>
        <p:spPr>
          <a:xfrm>
            <a:off x="432000" y="1735014"/>
            <a:ext cx="3564001" cy="4319711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6"/>
                </a:solidFill>
              </a:defRPr>
            </a:lvl1pPr>
          </a:lstStyle>
          <a:p>
            <a:r>
              <a:rPr lang="en-GB"/>
              <a:t>Intro summary text goes he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267E27-DA97-0D46-9740-BF9E88C52C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4F929AC-5E7A-1A4C-8427-F04E4C908E8F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6D0C676-28C4-BF14-7D49-3169DC1AAA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9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 Grid Boxes 3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708" y="2743014"/>
            <a:ext cx="3564000" cy="3311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B540671A-ED56-3548-A508-080ABBDB5E58}"/>
              </a:ext>
            </a:extLst>
          </p:cNvPr>
          <p:cNvSpPr/>
          <p:nvPr userDrawn="1"/>
        </p:nvSpPr>
        <p:spPr>
          <a:xfrm>
            <a:off x="412708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6871" y="2743014"/>
            <a:ext cx="3564000" cy="3311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66871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59249" y="2743014"/>
            <a:ext cx="3564000" cy="3311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8259249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A3FC528-9065-C94F-99DF-349AA62E3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EA2AC99-8B06-B44A-BCC3-DEDF573C1400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04712B60-6C80-0125-1B04-001787232D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538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 Grid Boxes 4UP with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A897845-DFE8-7140-BE24-7AD33E02F2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0428" y="2185014"/>
            <a:ext cx="3564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5E206611-9F04-2C46-95B1-573726492E29}"/>
              </a:ext>
            </a:extLst>
          </p:cNvPr>
          <p:cNvSpPr/>
          <p:nvPr userDrawn="1"/>
        </p:nvSpPr>
        <p:spPr>
          <a:xfrm>
            <a:off x="4310428" y="1285014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E4DF866-0267-6D4B-8CF4-FAFA97285D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C737232C-EBE9-2647-917F-C7C76B087CA4}"/>
              </a:ext>
            </a:extLst>
          </p:cNvPr>
          <p:cNvSpPr/>
          <p:nvPr userDrawn="1"/>
        </p:nvSpPr>
        <p:spPr>
          <a:xfrm>
            <a:off x="8264591" y="1285014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8ADAB78-EE5F-B741-8763-DEC022B42E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E29E7FE3-94A7-274E-9C79-62D4A777C7A5}"/>
              </a:ext>
            </a:extLst>
          </p:cNvPr>
          <p:cNvSpPr/>
          <p:nvPr userDrawn="1"/>
        </p:nvSpPr>
        <p:spPr>
          <a:xfrm>
            <a:off x="4310428" y="384628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27DCFD9-112E-A945-955D-F67D14142C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70713629-27C4-A749-B40D-6E3D13CBC59F}"/>
              </a:ext>
            </a:extLst>
          </p:cNvPr>
          <p:cNvSpPr/>
          <p:nvPr userDrawn="1"/>
        </p:nvSpPr>
        <p:spPr>
          <a:xfrm>
            <a:off x="8272154" y="3849215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1D89516-E743-9149-8E82-C8FD33FB9E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D046538-6FA9-4F4C-86B3-9F8268B46A71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62ACBA56-8EF4-494B-AB68-12ECC4D0812F}"/>
              </a:ext>
            </a:extLst>
          </p:cNvPr>
          <p:cNvSpPr>
            <a:spLocks noGrp="1"/>
          </p:cNvSpPr>
          <p:nvPr>
            <p:ph sz="quarter" idx="4294967295" hasCustomPrompt="1"/>
          </p:nvPr>
        </p:nvSpPr>
        <p:spPr>
          <a:xfrm>
            <a:off x="432000" y="1285014"/>
            <a:ext cx="3564001" cy="4769711"/>
          </a:xfrm>
        </p:spPr>
        <p:txBody>
          <a:bodyPr/>
          <a:lstStyle>
            <a:lvl1pPr marL="0" indent="0">
              <a:buNone/>
              <a:defRPr sz="2200">
                <a:solidFill>
                  <a:schemeClr val="accent6"/>
                </a:solidFill>
              </a:defRPr>
            </a:lvl1pPr>
          </a:lstStyle>
          <a:p>
            <a:r>
              <a:rPr lang="en-GB"/>
              <a:t>Intro summary text goes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D55FB54-F5EA-C613-D5F4-F3C0063B3E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23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 Grid Boxes 6UP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B540671A-ED56-3548-A508-080ABBDB5E58}"/>
              </a:ext>
            </a:extLst>
          </p:cNvPr>
          <p:cNvSpPr/>
          <p:nvPr userDrawn="1"/>
        </p:nvSpPr>
        <p:spPr>
          <a:xfrm>
            <a:off x="412708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6871" y="2089034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66871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8259249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</a:extLst>
          </p:cNvPr>
          <p:cNvSpPr/>
          <p:nvPr userDrawn="1"/>
        </p:nvSpPr>
        <p:spPr>
          <a:xfrm>
            <a:off x="412708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</a:extLst>
          </p:cNvPr>
          <p:cNvSpPr/>
          <p:nvPr userDrawn="1"/>
        </p:nvSpPr>
        <p:spPr>
          <a:xfrm>
            <a:off x="4374434" y="375220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D9A3BB3-7E48-6A41-BE78-2AD280277F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FC04B02F-94D2-6E4A-ADC2-EE378D70C248}"/>
              </a:ext>
            </a:extLst>
          </p:cNvPr>
          <p:cNvSpPr/>
          <p:nvPr userDrawn="1"/>
        </p:nvSpPr>
        <p:spPr>
          <a:xfrm>
            <a:off x="8259249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58FD52DB-CC55-304D-B862-680CEE783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F036740-51BF-404A-B94A-164C9330AE62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578D1774-8975-89D5-1EA8-A68550359E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7591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Grid Boxes, Titles 2UP +Intr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0AEEEA08-1C49-6944-6F79-AABE5D4651A9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6871" y="2290349"/>
            <a:ext cx="3564000" cy="3764374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66871" y="1282349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59249" y="2290349"/>
            <a:ext cx="3564000" cy="3764372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8259249" y="1282349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7D3740-0A11-F14D-A939-98CD3587271B}"/>
              </a:ext>
            </a:extLst>
          </p:cNvPr>
          <p:cNvSpPr>
            <a:spLocks noGrp="1"/>
          </p:cNvSpPr>
          <p:nvPr>
            <p:ph sz="quarter" idx="4294967295" hasCustomPrompt="1"/>
          </p:nvPr>
        </p:nvSpPr>
        <p:spPr>
          <a:xfrm>
            <a:off x="432000" y="1285014"/>
            <a:ext cx="3564001" cy="4769711"/>
          </a:xfrm>
        </p:spPr>
        <p:txBody>
          <a:bodyPr lIns="0" tIns="0" rIns="0" bIns="0"/>
          <a:lstStyle>
            <a:lvl1pPr marL="0" indent="0">
              <a:buNone/>
              <a:defRPr sz="2200"/>
            </a:lvl1pPr>
          </a:lstStyle>
          <a:p>
            <a:r>
              <a:rPr lang="en-GB"/>
              <a:t>Intro summary text goes her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5347A23-4C56-A54D-96A3-4993B86066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21EFD07-C8A5-7845-9A8E-928B94195A0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74871" y="142623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076541C-26A7-7147-BAC1-5A229E7C0E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67249" y="142623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FF391A-F0C8-2846-A025-06D92CB6CD43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34626D58-3C16-8648-D845-A7F5213188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5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Grid boxes, Titles 3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708" y="2743014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B540671A-ED56-3548-A508-080ABBDB5E58}"/>
              </a:ext>
            </a:extLst>
          </p:cNvPr>
          <p:cNvSpPr/>
          <p:nvPr userDrawn="1"/>
        </p:nvSpPr>
        <p:spPr>
          <a:xfrm>
            <a:off x="412708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6871" y="2743014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66871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59249" y="2743014"/>
            <a:ext cx="3564000" cy="3311999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8259249" y="1735014"/>
            <a:ext cx="3564000" cy="1008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FDBDDA74-8B33-8B4B-9B25-993D2BE7C7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45D2B57-B97B-B347-9DEB-D5C1AC753A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0708" y="1897014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DD1D30-BF5F-3F4D-A1DE-F7778CA7ED9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74871" y="1897014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0D443938-DE7C-934D-A74E-737FAD8DA31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67249" y="1891996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1E58B1A-02A3-B84A-8BB1-27D19814EDBF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6C73BAF5-5900-0C46-ED91-BD67D9ED44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32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E280B4-F5C1-3606-3A0A-15931CE85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1E63D-4EC9-1310-F405-AE66B00799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CB11C9-86A2-B052-3AD6-D4FEFA354A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FFA36-FBB9-470A-A9BD-661A3914E69C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8D87F4-65BD-EC4C-BE32-416CDE88C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0A65DB-BA60-4C29-2AE0-C437B0069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1FD78-9BA6-4D58-B554-8E123F1610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4536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Grid boxes, Titles 4UP +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9EBD2400-C5F8-6FA7-2AD7-D6C6E9D59298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A897845-DFE8-7140-BE24-7AD33E02F2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0428" y="2185014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5E206611-9F04-2C46-95B1-573726492E29}"/>
              </a:ext>
            </a:extLst>
          </p:cNvPr>
          <p:cNvSpPr/>
          <p:nvPr userDrawn="1"/>
        </p:nvSpPr>
        <p:spPr>
          <a:xfrm>
            <a:off x="4310428" y="1285014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E4DF866-0267-6D4B-8CF4-FAFA97285D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64591" y="2186048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C737232C-EBE9-2647-917F-C7C76B087CA4}"/>
              </a:ext>
            </a:extLst>
          </p:cNvPr>
          <p:cNvSpPr/>
          <p:nvPr userDrawn="1"/>
        </p:nvSpPr>
        <p:spPr>
          <a:xfrm>
            <a:off x="8264591" y="1285014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8ADAB78-EE5F-B741-8763-DEC022B42E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0428" y="4746281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E29E7FE3-94A7-274E-9C79-62D4A777C7A5}"/>
              </a:ext>
            </a:extLst>
          </p:cNvPr>
          <p:cNvSpPr/>
          <p:nvPr userDrawn="1"/>
        </p:nvSpPr>
        <p:spPr>
          <a:xfrm>
            <a:off x="4310428" y="384628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27DCFD9-112E-A945-955D-F67D14142C6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64591" y="4747441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70713629-27C4-A749-B40D-6E3D13CBC59F}"/>
              </a:ext>
            </a:extLst>
          </p:cNvPr>
          <p:cNvSpPr/>
          <p:nvPr userDrawn="1"/>
        </p:nvSpPr>
        <p:spPr>
          <a:xfrm>
            <a:off x="8272154" y="3849215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EA0FBD3D-6E21-E549-967B-395F00EE1908}"/>
              </a:ext>
            </a:extLst>
          </p:cNvPr>
          <p:cNvSpPr>
            <a:spLocks noGrp="1"/>
          </p:cNvSpPr>
          <p:nvPr>
            <p:ph sz="quarter" idx="4294967295" hasCustomPrompt="1"/>
          </p:nvPr>
        </p:nvSpPr>
        <p:spPr>
          <a:xfrm>
            <a:off x="432000" y="1393014"/>
            <a:ext cx="3564001" cy="4865268"/>
          </a:xfrm>
        </p:spPr>
        <p:txBody>
          <a:bodyPr lIns="0" tIns="0" rIns="0" bIns="0"/>
          <a:lstStyle>
            <a:lvl1pPr marL="0" indent="0">
              <a:buNone/>
              <a:defRPr sz="2200"/>
            </a:lvl1pPr>
          </a:lstStyle>
          <a:p>
            <a:r>
              <a:rPr lang="en-GB"/>
              <a:t>Intro summary text goes her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8CEA5C8-040E-A042-A8BE-B661106C8E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63E93DE-B0A0-E448-839F-EC15B688DA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8428" y="1393014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728E9EF-F5FD-C54D-A0C4-E79B3934E3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2591" y="1394399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13CE4756-EA5A-644E-8E3C-7A88541176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18428" y="3954281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A023CEAC-43CB-D349-B655-0C148109A5B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0154" y="3954281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116781D-5A03-6141-8389-E5AB404ECD9E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36B9BB60-BD70-1857-B877-C41DEC1AF4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51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Grid boxes, Titles 5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70978" y="199098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2370978" y="1113399"/>
            <a:ext cx="3564000" cy="899876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57024" y="199098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6257024" y="1090988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</a:extLst>
          </p:cNvPr>
          <p:cNvSpPr/>
          <p:nvPr userDrawn="1"/>
        </p:nvSpPr>
        <p:spPr>
          <a:xfrm>
            <a:off x="412708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32197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</a:extLst>
          </p:cNvPr>
          <p:cNvSpPr/>
          <p:nvPr userDrawn="1"/>
        </p:nvSpPr>
        <p:spPr>
          <a:xfrm>
            <a:off x="4339760" y="375104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D9A3BB3-7E48-6A41-BE78-2AD280277F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 algn="ctr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FC04B02F-94D2-6E4A-ADC2-EE378D70C248}"/>
              </a:ext>
            </a:extLst>
          </p:cNvPr>
          <p:cNvSpPr/>
          <p:nvPr userDrawn="1"/>
        </p:nvSpPr>
        <p:spPr>
          <a:xfrm>
            <a:off x="8259249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61316BA-3A2D-A349-8FD8-DEAD56529B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EC696E9-078C-3E45-8DCD-5A562EAEB29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78978" y="1228501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17258850-67A6-DA45-BCA6-3A1843C3D93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70431" y="1228501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9D36508-91C9-D341-BD22-8B7D09BC1D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4490" y="385726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5A46B0EB-2090-6B41-BC96-DD563B676C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460077" y="385726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DEAB9F2-4319-8F40-BA4F-1ED7E306385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67249" y="385726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63BFC66-CD6B-7E4B-8089-7EA6B13C54A5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75778E56-0E45-B720-1A87-18BF82CEDE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13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Grid boxes, Titles 6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7286FFC-BD82-6E40-BA0C-B1C0F7127A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2708" y="2088000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pPr algn="r"/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B540671A-ED56-3548-A508-080ABBDB5E58}"/>
              </a:ext>
            </a:extLst>
          </p:cNvPr>
          <p:cNvSpPr/>
          <p:nvPr userDrawn="1"/>
        </p:nvSpPr>
        <p:spPr>
          <a:xfrm>
            <a:off x="412708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90A04B-AAE8-A248-ADF6-A73BF8ECD7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66871" y="2089034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08FEBAA5-9C5F-2648-899B-9991822EBFF6}"/>
              </a:ext>
            </a:extLst>
          </p:cNvPr>
          <p:cNvSpPr/>
          <p:nvPr userDrawn="1"/>
        </p:nvSpPr>
        <p:spPr>
          <a:xfrm>
            <a:off x="4366871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42484D6-4364-A442-9ABC-5042556E620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59249" y="2087999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9E7ED11E-4751-6140-AC11-8C5B88B96EE4}"/>
              </a:ext>
            </a:extLst>
          </p:cNvPr>
          <p:cNvSpPr/>
          <p:nvPr userDrawn="1"/>
        </p:nvSpPr>
        <p:spPr>
          <a:xfrm>
            <a:off x="8259249" y="1188000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017D8E3-CAD4-674B-ABC3-946291000D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2708" y="464926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D87C9DF-7113-134C-B859-0141E7D1B2DB}"/>
              </a:ext>
            </a:extLst>
          </p:cNvPr>
          <p:cNvSpPr txBox="1"/>
          <p:nvPr userDrawn="1"/>
        </p:nvSpPr>
        <p:spPr>
          <a:xfrm>
            <a:off x="4700954" y="653038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8FD6A08D-6DD3-C845-8B17-CC9297B607DC}"/>
              </a:ext>
            </a:extLst>
          </p:cNvPr>
          <p:cNvSpPr/>
          <p:nvPr userDrawn="1"/>
        </p:nvSpPr>
        <p:spPr>
          <a:xfrm>
            <a:off x="412708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07BD5561-5536-6F4A-AD32-EFB7423F22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6871" y="4650427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B5A7277B-59DD-844A-A364-77AED24CBAC1}"/>
              </a:ext>
            </a:extLst>
          </p:cNvPr>
          <p:cNvSpPr/>
          <p:nvPr userDrawn="1"/>
        </p:nvSpPr>
        <p:spPr>
          <a:xfrm>
            <a:off x="4374434" y="3752201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D9A3BB3-7E48-6A41-BE78-2AD280277F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9249" y="4650425"/>
            <a:ext cx="3564000" cy="1512000"/>
          </a:xfrm>
          <a:prstGeom prst="rect">
            <a:avLst/>
          </a:prstGeom>
          <a:solidFill>
            <a:srgbClr val="F2F2F2"/>
          </a:solidFill>
        </p:spPr>
        <p:txBody>
          <a:bodyPr lIns="216000" tIns="216000" rIns="216000" bIns="21600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FC04B02F-94D2-6E4A-ADC2-EE378D70C248}"/>
              </a:ext>
            </a:extLst>
          </p:cNvPr>
          <p:cNvSpPr/>
          <p:nvPr userDrawn="1"/>
        </p:nvSpPr>
        <p:spPr>
          <a:xfrm>
            <a:off x="8259249" y="3749267"/>
            <a:ext cx="3564000" cy="900000"/>
          </a:xfrm>
          <a:prstGeom prst="round2SameRect">
            <a:avLst/>
          </a:prstGeom>
          <a:solidFill>
            <a:srgbClr val="E4EB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5FEA82EC-5F70-2C43-B773-938E8FCB9F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B9F8E112-B1EA-6542-A337-A038C269AD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0708" y="1296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36E8D2E-4AD7-3342-855A-6E726FEDA3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82434" y="1296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4380DA1-D506-154B-828B-630201A38F0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67249" y="1296000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EF0A95D-85EC-7E4C-87ED-A15257D0B02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0708" y="385726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B38F8DE-42A5-1243-AE49-5247BD8167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82434" y="385726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4DB68FB-4DB7-1741-9BB7-E3E914ECFD4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67249" y="3857267"/>
            <a:ext cx="3348000" cy="684000"/>
          </a:xfrm>
        </p:spPr>
        <p:txBody>
          <a:bodyPr anchor="ctr"/>
          <a:lstStyle>
            <a:lvl1pPr algn="ctr">
              <a:buNone/>
              <a:defRPr sz="22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Insert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5C03302-9DA8-744E-AE94-FF1801AB2637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829B64CD-1CC9-E09E-D868-6F5395EB99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78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2959E3C-5FB4-790C-CF99-8945D267023E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23656E6-FF78-F94F-8811-84EB59CAC3BF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82522558-9EFB-4BAA-9B27-3CE888AC527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mage icon in centre to insert a photo</a:t>
            </a:r>
            <a:br>
              <a:rPr lang="en-GB"/>
            </a:br>
            <a:r>
              <a:rPr lang="en-GB"/>
              <a:t>(don’t forget to add Alt Text to image)</a:t>
            </a:r>
          </a:p>
        </p:txBody>
      </p:sp>
    </p:spTree>
    <p:extLst>
      <p:ext uri="{BB962C8B-B14F-4D97-AF65-F5344CB8AC3E}">
        <p14:creationId xmlns:p14="http://schemas.microsoft.com/office/powerpoint/2010/main" val="241421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0190978-5FC4-6858-371C-AF3DAD50E21F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9F1649F8-C95E-B04E-A0E7-F89193CC9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7224" y="1314156"/>
            <a:ext cx="7503849" cy="3466727"/>
          </a:xfrm>
          <a:prstGeom prst="rect">
            <a:avLst/>
          </a:prstGeom>
        </p:spPr>
        <p:txBody>
          <a:bodyPr>
            <a:noAutofit/>
          </a:bodyPr>
          <a:lstStyle>
            <a:lvl1pPr marL="288000" indent="-288000" algn="l">
              <a:buNone/>
              <a:defRPr sz="42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“Showcase quotation</a:t>
            </a:r>
            <a:br>
              <a:rPr lang="en-GB"/>
            </a:br>
            <a:r>
              <a:rPr lang="en-GB"/>
              <a:t>with left aligned text over multiple lines. Try to keep</a:t>
            </a:r>
            <a:br>
              <a:rPr lang="en-GB"/>
            </a:br>
            <a:r>
              <a:rPr lang="en-GB"/>
              <a:t>it to four lines if </a:t>
            </a:r>
            <a:r>
              <a:rPr lang="en-GB" err="1"/>
              <a:t>poss</a:t>
            </a:r>
            <a:r>
              <a:rPr lang="en-GB"/>
              <a:t> or five lines max.”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D406466E-798B-BE4C-B09F-C1B1244AAB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8000" y="4780883"/>
            <a:ext cx="7503849" cy="89693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Name Surname,</a:t>
            </a:r>
            <a:br>
              <a:rPr lang="en-GB"/>
            </a:br>
            <a:r>
              <a:rPr lang="en-GB"/>
              <a:t>Job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3FE3F0-85CD-934D-A3A3-CF2B78D73A35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2A86FEEE-9136-D68E-6360-B4FDD6D917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40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e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E4EE10-8D4E-C85B-5620-784900182A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2C90ABAC-E435-5C65-A8FA-9E315CE9DE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43F37B1-1F8A-2CA4-9D19-C0E420FB42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6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Heading lab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FAD1B1-54FF-2FC6-D407-337D3737411D}"/>
              </a:ext>
            </a:extLst>
          </p:cNvPr>
          <p:cNvSpPr txBox="1"/>
          <p:nvPr userDrawn="1"/>
        </p:nvSpPr>
        <p:spPr>
          <a:xfrm>
            <a:off x="1245609" y="2349016"/>
            <a:ext cx="35527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Text content goes over single column. Text content here goes over single column. Text content here goes over single column. </a:t>
            </a:r>
          </a:p>
        </p:txBody>
      </p:sp>
    </p:spTree>
    <p:extLst>
      <p:ext uri="{BB962C8B-B14F-4D97-AF65-F5344CB8AC3E}">
        <p14:creationId xmlns:p14="http://schemas.microsoft.com/office/powerpoint/2010/main" val="253439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Quote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E4EE10-8D4E-C85B-5620-784900182A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2C90ABAC-E435-5C65-A8FA-9E315CE9DE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A16B251-D1BB-394C-319F-40E8F04D7F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6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Heading lab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A68404-D948-7642-8BC6-F42E883389E5}"/>
              </a:ext>
            </a:extLst>
          </p:cNvPr>
          <p:cNvSpPr txBox="1"/>
          <p:nvPr userDrawn="1"/>
        </p:nvSpPr>
        <p:spPr>
          <a:xfrm>
            <a:off x="1245609" y="2349016"/>
            <a:ext cx="35527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Text content goes over single column. Text content here goes over single column. Text content here goes over single column. </a:t>
            </a:r>
          </a:p>
        </p:txBody>
      </p:sp>
    </p:spTree>
    <p:extLst>
      <p:ext uri="{BB962C8B-B14F-4D97-AF65-F5344CB8AC3E}">
        <p14:creationId xmlns:p14="http://schemas.microsoft.com/office/powerpoint/2010/main" val="152033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and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52196E5-15CA-15E3-1E10-32B3D19927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652C93B3-5A12-5AAD-2ACF-93939EE7FBF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77551A3-9BAE-400C-B485-0F4ED3DB7306}"/>
              </a:ext>
            </a:extLst>
          </p:cNvPr>
          <p:cNvSpPr txBox="1"/>
          <p:nvPr userDrawn="1"/>
        </p:nvSpPr>
        <p:spPr>
          <a:xfrm>
            <a:off x="1245609" y="2349016"/>
            <a:ext cx="35527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/>
              <a:t>“Quote text here. Quote text here. Quote text here.”</a:t>
            </a:r>
          </a:p>
        </p:txBody>
      </p:sp>
    </p:spTree>
    <p:extLst>
      <p:ext uri="{BB962C8B-B14F-4D97-AF65-F5344CB8AC3E}">
        <p14:creationId xmlns:p14="http://schemas.microsoft.com/office/powerpoint/2010/main" val="320778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EA7B0BA1-E61A-5019-0AA4-5328CA2AB0E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B4F947-0C85-DAF2-683C-40847EF7F0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72D8FDB-A40F-9C14-5A8C-BCBBA006B64D}"/>
              </a:ext>
            </a:extLst>
          </p:cNvPr>
          <p:cNvSpPr txBox="1"/>
          <p:nvPr userDrawn="1"/>
        </p:nvSpPr>
        <p:spPr>
          <a:xfrm>
            <a:off x="1245609" y="2349016"/>
            <a:ext cx="35527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/>
              <a:t>“Quote text here. Quote text here. Quote text here.”</a:t>
            </a:r>
          </a:p>
        </p:txBody>
      </p:sp>
    </p:spTree>
    <p:extLst>
      <p:ext uri="{BB962C8B-B14F-4D97-AF65-F5344CB8AC3E}">
        <p14:creationId xmlns:p14="http://schemas.microsoft.com/office/powerpoint/2010/main" val="210221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ote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E4EE10-8D4E-C85B-5620-784900182A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2C90ABAC-E435-5C65-A8FA-9E315CE9DE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D43F37B1-1F8A-2CA4-9D19-C0E420FB42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6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Heading label</a:t>
            </a:r>
          </a:p>
        </p:txBody>
      </p:sp>
    </p:spTree>
    <p:extLst>
      <p:ext uri="{BB962C8B-B14F-4D97-AF65-F5344CB8AC3E}">
        <p14:creationId xmlns:p14="http://schemas.microsoft.com/office/powerpoint/2010/main" val="2948136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E117B-5EC4-2B21-53DC-6DB6BD613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87A768-5607-5837-A37E-D660648D23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A4FD35-9C81-5309-45A2-BCA6B43D37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043A81-7C0B-3435-70CB-89C24F5363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FFA36-FBB9-470A-A9BD-661A3914E69C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CFB429-6201-E548-4485-C51A3EBD8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87B64B-590D-E385-3C83-84D217203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1FD78-9BA6-4D58-B554-8E123F1610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15578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Quote and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E4EE10-8D4E-C85B-5620-784900182A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2C90ABAC-E435-5C65-A8FA-9E315CE9DE5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BA16B251-D1BB-394C-319F-40E8F04D7F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7052" y="1673324"/>
            <a:ext cx="3461285" cy="6583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6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Heading label</a:t>
            </a:r>
          </a:p>
        </p:txBody>
      </p:sp>
    </p:spTree>
    <p:extLst>
      <p:ext uri="{BB962C8B-B14F-4D97-AF65-F5344CB8AC3E}">
        <p14:creationId xmlns:p14="http://schemas.microsoft.com/office/powerpoint/2010/main" val="363010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Quote and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52196E5-15CA-15E3-1E10-32B3D19927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652C93B3-5A12-5AAD-2ACF-93939EE7FBF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</p:spTree>
    <p:extLst>
      <p:ext uri="{BB962C8B-B14F-4D97-AF65-F5344CB8AC3E}">
        <p14:creationId xmlns:p14="http://schemas.microsoft.com/office/powerpoint/2010/main" val="3537432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Quote and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EA7B0BA1-E61A-5019-0AA4-5328CA2AB0E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B4F947-0C85-DAF2-683C-40847EF7F0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01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reaker Heading1-Blue-DarkBlu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C30C3909-1482-1013-E118-A2CE0A1DD3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0A3391-0472-724C-8E32-AA7421F01E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2932" y="3564000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86C9C2-DC55-7944-8ED5-BCEF416D53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82932" y="2520000"/>
            <a:ext cx="6948488" cy="9636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Breaker hea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62997B-3AAD-0D48-95DC-60BECBF9FEF6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51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reaker Heading1-Blue-DarkBlu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37092F3-915E-341D-8AD1-B8E398E9BFA4}"/>
              </a:ext>
            </a:extLst>
          </p:cNvPr>
          <p:cNvSpPr/>
          <p:nvPr userDrawn="1"/>
        </p:nvSpPr>
        <p:spPr>
          <a:xfrm>
            <a:off x="-14636" y="-34893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Chart&#10;&#10;Description automatically generated with medium confidence">
            <a:extLst>
              <a:ext uri="{FF2B5EF4-FFF2-40B4-BE49-F238E27FC236}">
                <a16:creationId xmlns:a16="http://schemas.microsoft.com/office/drawing/2014/main" id="{0AF6C2AD-0E53-2A94-6EDF-C2BC1C35E6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16747" y="-121920"/>
            <a:ext cx="12408747" cy="697992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0A3391-0472-724C-8E32-AA7421F01E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00" y="3903218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86C9C2-DC55-7944-8ED5-BCEF416D53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000" y="1917290"/>
            <a:ext cx="5685561" cy="15663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Breaker hea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62997B-3AAD-0D48-95DC-60BECBF9FEF6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22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reaker Heading1-Blue-DarkBlu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7C9A4BA-CD7C-BF8C-6221-BCB58BC96EC4}"/>
              </a:ext>
            </a:extLst>
          </p:cNvPr>
          <p:cNvSpPr/>
          <p:nvPr userDrawn="1"/>
        </p:nvSpPr>
        <p:spPr>
          <a:xfrm>
            <a:off x="-14636" y="-34893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2D07C2D6-AB1B-B84B-BC13-7D79E8BCFC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52265" y="-122410"/>
            <a:ext cx="12499929" cy="703121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0A3391-0472-724C-8E32-AA7421F01E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916" y="3903218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86C9C2-DC55-7944-8ED5-BCEF416D53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1916" y="1917290"/>
            <a:ext cx="5685561" cy="15663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Breaker hea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62997B-3AAD-0D48-95DC-60BECBF9FEF6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859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reaker Heading1-Blue-DarkBlu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268FFC32-6059-0DED-CEB1-02D4D3CCB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10A3391-0472-724C-8E32-AA7421F01E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4598" y="3903218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686C9C2-DC55-7944-8ED5-BCEF416D53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4598" y="1917290"/>
            <a:ext cx="5685561" cy="15663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Breaker hea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262997B-3AAD-0D48-95DC-60BECBF9FEF6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16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slide with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EF456E7-F404-A541-B6E9-27C1B10EC60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tIns="2340000"/>
          <a:lstStyle>
            <a:lvl1pPr algn="ctr">
              <a:buNone/>
              <a:defRPr/>
            </a:lvl1pPr>
          </a:lstStyle>
          <a:p>
            <a:r>
              <a:rPr lang="en-GB"/>
              <a:t>Click on icon to insert image (including Alt Text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2C3761D-E146-5B7A-CD68-6CC98EA19A5F}"/>
              </a:ext>
            </a:extLst>
          </p:cNvPr>
          <p:cNvSpPr/>
          <p:nvPr userDrawn="1"/>
        </p:nvSpPr>
        <p:spPr>
          <a:xfrm>
            <a:off x="0" y="0"/>
            <a:ext cx="6096000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pPr algn="r"/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50355A0D-4235-0CF1-A976-C33D8CCCBF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916" y="3903218"/>
            <a:ext cx="3890150" cy="8969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  <a:lvl2pPr marL="357188" indent="0">
              <a:buNone/>
              <a:defRPr/>
            </a:lvl2pPr>
            <a:lvl3pPr marL="714375" indent="0">
              <a:buNone/>
              <a:defRPr/>
            </a:lvl3pPr>
            <a:lvl4pPr marL="1081087" indent="0">
              <a:buNone/>
              <a:defRPr/>
            </a:lvl4pPr>
            <a:lvl5pPr marL="1438275" indent="0">
              <a:buNone/>
              <a:defRPr/>
            </a:lvl5pPr>
          </a:lstStyle>
          <a:p>
            <a:pPr lvl="0"/>
            <a:r>
              <a:rPr lang="en-GB"/>
              <a:t>Section subhead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B6F326D-0ECB-4952-2659-CD17291986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1916" y="1917290"/>
            <a:ext cx="5685561" cy="156632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6000" b="1">
                <a:solidFill>
                  <a:schemeClr val="tx1"/>
                </a:solidFill>
              </a:defRPr>
            </a:lvl1pPr>
            <a:lvl2pPr marL="357188" indent="0">
              <a:buNone/>
              <a:defRPr>
                <a:solidFill>
                  <a:schemeClr val="tx1"/>
                </a:solidFill>
              </a:defRPr>
            </a:lvl2pPr>
            <a:lvl3pPr marL="714375" indent="0">
              <a:buNone/>
              <a:defRPr>
                <a:solidFill>
                  <a:schemeClr val="tx1"/>
                </a:solidFill>
              </a:defRPr>
            </a:lvl3pPr>
            <a:lvl4pPr marL="1081087" indent="0">
              <a:buNone/>
              <a:defRPr>
                <a:solidFill>
                  <a:schemeClr val="tx1"/>
                </a:solidFill>
              </a:defRPr>
            </a:lvl4pPr>
            <a:lvl5pPr marL="1438275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Breaker heading</a:t>
            </a:r>
          </a:p>
        </p:txBody>
      </p:sp>
    </p:spTree>
    <p:extLst>
      <p:ext uri="{BB962C8B-B14F-4D97-AF65-F5344CB8AC3E}">
        <p14:creationId xmlns:p14="http://schemas.microsoft.com/office/powerpoint/2010/main" val="2163288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ACCESSI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9D383FB-0467-4241-BEF0-D636E886723B}"/>
              </a:ext>
            </a:extLst>
          </p:cNvPr>
          <p:cNvCxnSpPr/>
          <p:nvPr userDrawn="1"/>
        </p:nvCxnSpPr>
        <p:spPr>
          <a:xfrm>
            <a:off x="5715926" y="2605852"/>
            <a:ext cx="8651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390E57B-AF19-8642-9E47-AF887F52887B}"/>
              </a:ext>
            </a:extLst>
          </p:cNvPr>
          <p:cNvSpPr txBox="1"/>
          <p:nvPr userDrawn="1"/>
        </p:nvSpPr>
        <p:spPr>
          <a:xfrm>
            <a:off x="5610770" y="2808746"/>
            <a:ext cx="4343734" cy="260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6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Thank Yo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	@</a:t>
            </a:r>
            <a:r>
              <a:rPr kumimoji="0" lang="en-GB" sz="2400" b="1" i="0" u="none" strike="noStrike" kern="1200" cap="none" spc="2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hsengland</a:t>
            </a:r>
            <a:endParaRPr kumimoji="0" lang="en-GB" sz="2400" b="1" i="0" u="none" strike="noStrike" kern="1200" cap="none" spc="2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	company/</a:t>
            </a:r>
            <a:r>
              <a:rPr kumimoji="0" lang="en-GB" sz="2400" b="1" i="0" u="none" strike="noStrike" kern="1200" cap="none" spc="2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hsengland</a:t>
            </a:r>
            <a:endParaRPr kumimoji="0" lang="en-GB" sz="2400" b="1" i="0" u="none" strike="noStrike" kern="1200" cap="none" spc="2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</a:t>
            </a:r>
            <a:r>
              <a:rPr kumimoji="0" lang="en-GB" sz="2400" b="1" i="0" u="none" strike="noStrike" kern="1200" cap="none" spc="2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ngland.nhs.uk</a:t>
            </a:r>
            <a:endParaRPr lang="en-GB" sz="2400" b="1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B65D7-2EE6-F44F-85AA-7C93787926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72040" y="3665234"/>
            <a:ext cx="390144" cy="3901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843EE8-F6F8-9D40-92C1-94FB4DCF14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885396" y="4266369"/>
            <a:ext cx="390144" cy="390144"/>
          </a:xfrm>
          <a:prstGeom prst="rect">
            <a:avLst/>
          </a:prstGeom>
        </p:spPr>
      </p:pic>
      <p:pic>
        <p:nvPicPr>
          <p:cNvPr id="72" name="Picture 96">
            <a:extLst>
              <a:ext uri="{FF2B5EF4-FFF2-40B4-BE49-F238E27FC236}">
                <a16:creationId xmlns:a16="http://schemas.microsoft.com/office/drawing/2014/main" id="{664BA24D-FA8C-EE4D-A2DC-491BF11D6FA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767074" y="4806522"/>
            <a:ext cx="600075" cy="600075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76D92FD5-08EA-6BC8-29BC-BCF5EEFE18A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5400000">
            <a:off x="-2509143" y="-71523"/>
            <a:ext cx="10768951" cy="7616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565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 ACCESSI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9D383FB-0467-4241-BEF0-D636E886723B}"/>
              </a:ext>
            </a:extLst>
          </p:cNvPr>
          <p:cNvCxnSpPr/>
          <p:nvPr userDrawn="1"/>
        </p:nvCxnSpPr>
        <p:spPr>
          <a:xfrm>
            <a:off x="5715926" y="2605852"/>
            <a:ext cx="8651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390E57B-AF19-8642-9E47-AF887F52887B}"/>
              </a:ext>
            </a:extLst>
          </p:cNvPr>
          <p:cNvSpPr txBox="1"/>
          <p:nvPr userDrawn="1"/>
        </p:nvSpPr>
        <p:spPr>
          <a:xfrm>
            <a:off x="5610770" y="2808746"/>
            <a:ext cx="4343734" cy="2608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6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Thank Yo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	@</a:t>
            </a:r>
            <a:r>
              <a:rPr kumimoji="0" lang="en-GB" sz="2400" b="1" i="0" u="none" strike="noStrike" kern="1200" cap="none" spc="2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hsengland</a:t>
            </a:r>
            <a:endParaRPr kumimoji="0" lang="en-GB" sz="2400" b="1" i="0" u="none" strike="noStrike" kern="1200" cap="none" spc="2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	company/</a:t>
            </a:r>
            <a:r>
              <a:rPr kumimoji="0" lang="en-GB" sz="2400" b="1" i="0" u="none" strike="noStrike" kern="1200" cap="none" spc="2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hsengland</a:t>
            </a:r>
            <a:endParaRPr kumimoji="0" lang="en-GB" sz="2400" b="1" i="0" u="none" strike="noStrike" kern="1200" cap="none" spc="2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005EB8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1" i="0" u="none" strike="noStrike" kern="1200" cap="none" spc="2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</a:t>
            </a:r>
            <a:r>
              <a:rPr kumimoji="0" lang="en-GB" sz="2400" b="1" i="0" u="none" strike="noStrike" kern="1200" cap="none" spc="2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ngland.nhs.uk</a:t>
            </a:r>
            <a:endParaRPr lang="en-GB" sz="2400" b="1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1B65D7-2EE6-F44F-85AA-7C93787926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872040" y="3665234"/>
            <a:ext cx="390144" cy="3901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843EE8-F6F8-9D40-92C1-94FB4DCF14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885396" y="4266369"/>
            <a:ext cx="390144" cy="390144"/>
          </a:xfrm>
          <a:prstGeom prst="rect">
            <a:avLst/>
          </a:prstGeom>
        </p:spPr>
      </p:pic>
      <p:pic>
        <p:nvPicPr>
          <p:cNvPr id="72" name="Picture 96">
            <a:extLst>
              <a:ext uri="{FF2B5EF4-FFF2-40B4-BE49-F238E27FC236}">
                <a16:creationId xmlns:a16="http://schemas.microsoft.com/office/drawing/2014/main" id="{664BA24D-FA8C-EE4D-A2DC-491BF11D6FA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5767074" y="4806522"/>
            <a:ext cx="600075" cy="600075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077C56A3-4FFE-73CF-6F7F-1F451E5B3F1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51045" y="364425"/>
            <a:ext cx="1208955" cy="979789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76D92FD5-08EA-6BC8-29BC-BCF5EEFE18A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5400000">
            <a:off x="-2509143" y="-71523"/>
            <a:ext cx="10768951" cy="7616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51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4D4E33-5CD2-0BA4-EDDC-E6EC63811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6B09C8-F742-CAAF-7829-F80F5EFF31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679519-4219-A454-B6DD-8B536D236F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C8B364-BE58-F253-30D4-77FCF42BF4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11BAA6-ACE4-E966-A427-D002A589E60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12DE8A1-19B0-A58E-25B6-C036C0D05C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FFA36-FBB9-470A-A9BD-661A3914E69C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040AF6-B9FF-D390-7352-695674FEBA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D45CE4-EF99-74FA-FCF3-EF95D26BA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1FD78-9BA6-4D58-B554-8E123F1610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147674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3763076-72CB-117E-F240-98C1D1050D3E}"/>
              </a:ext>
            </a:extLst>
          </p:cNvPr>
          <p:cNvSpPr/>
          <p:nvPr userDrawn="1"/>
        </p:nvSpPr>
        <p:spPr>
          <a:xfrm>
            <a:off x="0" y="0"/>
            <a:ext cx="12206636" cy="6872615"/>
          </a:xfrm>
          <a:prstGeom prst="rect">
            <a:avLst/>
          </a:prstGeom>
          <a:solidFill>
            <a:srgbClr val="F6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310075"/>
            <a:ext cx="11404154" cy="42672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8B4B32-B7B7-DB40-9D0C-2D4D8414C6EC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C3715D-C90E-7C4B-B312-C707773A39DD}"/>
              </a:ext>
            </a:extLst>
          </p:cNvPr>
          <p:cNvSpPr txBox="1"/>
          <p:nvPr userDrawn="1"/>
        </p:nvSpPr>
        <p:spPr>
          <a:xfrm>
            <a:off x="2232561" y="317071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37E920E-FCD4-834F-9787-A19C03BDF9AE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E055424E-84DC-71BA-CBB2-BE0007D93C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FB2922A9-9C8F-43B1-7D0A-0C7761EE45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767200"/>
            <a:ext cx="11012644" cy="57792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None/>
              <a:defRPr sz="1800" b="1">
                <a:solidFill>
                  <a:schemeClr val="accent6"/>
                </a:solidFill>
              </a:defRPr>
            </a:lvl1pPr>
            <a:lvl2pPr marL="357188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2pPr>
            <a:lvl3pPr marL="7143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3pPr>
            <a:lvl4pPr marL="1081087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4pPr>
            <a:lvl5pPr marL="1438275" indent="0">
              <a:buClr>
                <a:schemeClr val="tx1"/>
              </a:buClr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Subhead if needed</a:t>
            </a:r>
          </a:p>
        </p:txBody>
      </p:sp>
    </p:spTree>
    <p:extLst>
      <p:ext uri="{BB962C8B-B14F-4D97-AF65-F5344CB8AC3E}">
        <p14:creationId xmlns:p14="http://schemas.microsoft.com/office/powerpoint/2010/main" val="73121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and image with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64594D-0CD6-A139-E2D8-E53C4649C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E38F312-7674-937E-643A-324CAAFFDC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86994" y="226325"/>
            <a:ext cx="3064672" cy="187960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E7E9EC2-8F1A-C54E-09A7-969D6F29ABC8}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617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line and image with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69CF9639-6F3C-8DE1-B24B-D054A1FE1D9D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9734550" cy="47706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54610" tIns="54610" rIns="54610" bIns="5461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. What’s our vision?</a:t>
            </a:r>
          </a:p>
        </p:txBody>
      </p:sp>
    </p:spTree>
    <p:extLst>
      <p:ext uri="{BB962C8B-B14F-4D97-AF65-F5344CB8AC3E}">
        <p14:creationId xmlns:p14="http://schemas.microsoft.com/office/powerpoint/2010/main" val="410288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line and image with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BDFC27-AE77-990E-E3A7-5DF7B8BEB8B0}"/>
              </a:ext>
            </a:extLst>
          </p:cNvPr>
          <p:cNvSpPr txBox="1"/>
          <p:nvPr userDrawn="1"/>
        </p:nvSpPr>
        <p:spPr>
          <a:xfrm>
            <a:off x="7202551" y="2249424"/>
            <a:ext cx="44281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chemeClr val="bg1"/>
                </a:solidFill>
              </a:rPr>
              <a:t>Text content goes over single column. Text content here goes over single column. Text content here goes over single column. </a:t>
            </a:r>
          </a:p>
        </p:txBody>
      </p:sp>
    </p:spTree>
    <p:extLst>
      <p:ext uri="{BB962C8B-B14F-4D97-AF65-F5344CB8AC3E}">
        <p14:creationId xmlns:p14="http://schemas.microsoft.com/office/powerpoint/2010/main" val="420776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image with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93DACDB8-C05A-C540-BF85-5FDDA3660A2E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2"/>
                </a:solidFill>
              </a:rPr>
              <a:t>‹#›</a:t>
            </a:fld>
            <a:endParaRPr lang="en-GB" sz="1200">
              <a:solidFill>
                <a:schemeClr val="accent2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B6C65A-583E-CC43-8A40-D9FE20EAC65C}"/>
              </a:ext>
            </a:extLst>
          </p:cNvPr>
          <p:cNvSpPr txBox="1"/>
          <p:nvPr userDrawn="1"/>
        </p:nvSpPr>
        <p:spPr>
          <a:xfrm>
            <a:off x="1963271" y="-121023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5B6474B-ACF2-9D41-872B-7CB816A7A28A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accent6"/>
                </a:solidFill>
              </a:rPr>
              <a:t>‹#›</a:t>
            </a:fld>
            <a:endParaRPr lang="en-GB" sz="120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42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0054A970-DD2F-4466-9DB2-B8C42E25B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No_Classification">
            <a:extLst>
              <a:ext uri="{FF2B5EF4-FFF2-40B4-BE49-F238E27FC236}">
                <a16:creationId xmlns:a16="http://schemas.microsoft.com/office/drawing/2014/main" id="{657A634A-AE21-4836-B272-AB875C0DF383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464312" y="5025517"/>
            <a:ext cx="496697" cy="342273"/>
          </a:xfrm>
          <a:prstGeom prst="rect">
            <a:avLst/>
          </a:prstGeom>
          <a:noFill/>
        </p:spPr>
        <p:txBody>
          <a:bodyPr vert="horz" lIns="35941" tIns="17907" rIns="35941" bIns="46736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60735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/>
              <a:t>Source: …</a:t>
            </a:r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E45B2561-1286-4C69-93D6-7904590B62C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554736" y="1043758"/>
            <a:ext cx="110825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7E1E9903-0285-418B-9D05-35DB7905AC3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29" name="2. Slide Title">
            <a:extLst>
              <a:ext uri="{FF2B5EF4-FFF2-40B4-BE49-F238E27FC236}">
                <a16:creationId xmlns:a16="http://schemas.microsoft.com/office/drawing/2014/main" id="{191FB48E-8947-45C1-9EDC-E94F9D35BA0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 bwMode="gray">
          <a:xfrm>
            <a:off x="554736" y="172212"/>
            <a:ext cx="9992614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021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inTitle"/>
          <p:cNvSpPr>
            <a:spLocks noGrp="1"/>
          </p:cNvSpPr>
          <p:nvPr>
            <p:ph type="title"/>
          </p:nvPr>
        </p:nvSpPr>
        <p:spPr>
          <a:xfrm>
            <a:off x="3540373" y="451575"/>
            <a:ext cx="8067428" cy="723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BCC7C2F-9C67-439D-A23B-2D409F2EA42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6701" y="0"/>
            <a:ext cx="2915423" cy="6021388"/>
          </a:xfrm>
          <a:solidFill>
            <a:srgbClr val="D9D9D9"/>
          </a:solidFill>
        </p:spPr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79625A-BA9F-4869-879B-EEC22C2DDF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0373" y="203863"/>
            <a:ext cx="8067428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414224353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Heading, content, basic text one 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5138" y="1415778"/>
            <a:ext cx="11408875" cy="402644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22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22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add tex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0784B1-AA1E-DC4B-BEB4-EC05249AFE00}"/>
              </a:ext>
            </a:extLst>
          </p:cNvPr>
          <p:cNvSpPr txBox="1"/>
          <p:nvPr userDrawn="1"/>
        </p:nvSpPr>
        <p:spPr>
          <a:xfrm>
            <a:off x="4700954" y="423203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GB" sz="1200" b="1">
              <a:solidFill>
                <a:schemeClr val="accent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2CCDA4-D437-6B48-8BBD-CAC30F281160}"/>
              </a:ext>
            </a:extLst>
          </p:cNvPr>
          <p:cNvSpPr/>
          <p:nvPr userDrawn="1"/>
        </p:nvSpPr>
        <p:spPr>
          <a:xfrm>
            <a:off x="11444644" y="6404977"/>
            <a:ext cx="3722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pPr algn="r"/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8DD3CC7-FBFA-BE60-3F84-148ED3B0E4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75138" y="6342485"/>
            <a:ext cx="1141740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>
            <a:extLst>
              <a:ext uri="{FF2B5EF4-FFF2-40B4-BE49-F238E27FC236}">
                <a16:creationId xmlns:a16="http://schemas.microsoft.com/office/drawing/2014/main" id="{35A3A9D6-99DE-F543-FE75-9626C4C40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5138" y="620712"/>
            <a:ext cx="11404154" cy="6477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86111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23">
          <p15:clr>
            <a:srgbClr val="FBAE40"/>
          </p15:clr>
        </p15:guide>
        <p15:guide id="6" orient="horz" pos="799">
          <p15:clr>
            <a:srgbClr val="FBAE40"/>
          </p15:clr>
        </p15:guide>
        <p15:guide id="7" orient="horz" pos="890">
          <p15:clr>
            <a:srgbClr val="FBAE40"/>
          </p15:clr>
        </p15:guide>
        <p15:guide id="8" orient="horz" pos="39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ADFAB-FEF7-2B81-8D61-80E5BBE13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A1C5B7-28E6-35D7-65C6-A26C05BECE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FFA36-FBB9-470A-A9BD-661A3914E69C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26960C-3E38-1DE7-CB92-462ED146A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A029F9-84CE-AC1C-8086-2E054469D7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1FD78-9BA6-4D58-B554-8E123F1610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1806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7E0841-5008-96D7-97E7-0B1F2B467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FFA36-FBB9-470A-A9BD-661A3914E69C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2D9893-C4C8-BA0A-A0CA-2E89D2DF5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A16AD9-F638-FB24-6E71-3164A1D6B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1FD78-9BA6-4D58-B554-8E123F1610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51085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AA526-D4F8-CD46-ECCB-8D8C9C7DD8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ED5BAE-E029-2902-C426-586E8DC95E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86812C2-B43B-67B5-E848-DD8926EEED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C153F2-EC6E-DD2A-F8FD-40575B9B01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FFA36-FBB9-470A-A9BD-661A3914E69C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EDE794-5AA3-1183-0CF5-9F7C4E6B14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9BC178-EA79-591A-97DD-79F43FF2C9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1FD78-9BA6-4D58-B554-8E123F1610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72161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F57D40-416F-3696-409A-796AA6D48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EC9B94-6D5C-C649-87E8-C3D98591E0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C56368-7822-BCF4-5469-ABA51B1559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983C8C-CC3D-E215-4D5D-44D5385F47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8FFA36-FBB9-470A-A9BD-661A3914E69C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FD6FF0-24E3-B627-38F0-5F0C6DC077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C336E1-F119-9BD8-AC08-81E52FBC7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21FD78-9BA6-4D58-B554-8E123F1610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0980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theme" Target="../theme/theme2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DBB10A3-603F-5E90-D8AB-8342AE1F7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117EA0-B622-30CD-740D-38939BABBA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F9AA0D-0FBF-7994-27AB-356E151629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8FFA36-FBB9-470A-A9BD-661A3914E69C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445547-76E6-08F8-CC7B-CDF28F51F8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DBA945-C2FD-80DE-E7EF-74039C70FF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21FD78-9BA6-4D58-B554-8E123F1610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0974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CE947E-1F3C-4CE2-B205-42ACABCDF354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393700" y="414285"/>
            <a:ext cx="10352958" cy="775417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4187EB-CD8C-4429-80A8-057E397FFC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3700" y="1641987"/>
            <a:ext cx="11404600" cy="45349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F065DE5-B60C-BD43-D9ED-13BF3C6AB7A9}"/>
              </a:ext>
            </a:extLst>
          </p:cNvPr>
          <p:cNvSpPr/>
          <p:nvPr userDrawn="1"/>
        </p:nvSpPr>
        <p:spPr>
          <a:xfrm>
            <a:off x="11610749" y="6404977"/>
            <a:ext cx="187551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fld id="{BA3B713D-1FBB-0E4F-91D0-D2B735266E79}" type="slidenum">
              <a:rPr lang="en-GB" sz="1200" smtClean="0">
                <a:solidFill>
                  <a:schemeClr val="tx1"/>
                </a:solidFill>
              </a:rPr>
              <a:pPr algn="r"/>
              <a:t>‹#›</a:t>
            </a:fld>
            <a:endParaRPr lang="en-GB" sz="1200">
              <a:solidFill>
                <a:schemeClr val="tx1"/>
              </a:solidFill>
            </a:endParaRP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733EBF2A-C55B-6BA0-D546-7A39374C1D94}"/>
              </a:ext>
            </a:extLst>
          </p:cNvPr>
          <p:cNvPicPr>
            <a:picLocks noChangeAspect="1"/>
          </p:cNvPicPr>
          <p:nvPr userDrawn="1"/>
        </p:nvPicPr>
        <p:blipFill>
          <a:blip r:embed="rId49"/>
          <a:stretch>
            <a:fillRect/>
          </a:stretch>
        </p:blipFill>
        <p:spPr>
          <a:xfrm>
            <a:off x="10841519" y="414285"/>
            <a:ext cx="956781" cy="77541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1098E8F-CEBC-A631-F3D4-91B64DA70890}"/>
              </a:ext>
            </a:extLst>
          </p:cNvPr>
          <p:cNvSpPr/>
          <p:nvPr userDrawn="1"/>
        </p:nvSpPr>
        <p:spPr>
          <a:xfrm>
            <a:off x="10746659" y="0"/>
            <a:ext cx="1445342" cy="26835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chemeClr val="bg1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20893036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8">
          <p15:clr>
            <a:srgbClr val="F26B43"/>
          </p15:clr>
        </p15:guide>
        <p15:guide id="2" pos="242">
          <p15:clr>
            <a:srgbClr val="F26B43"/>
          </p15:clr>
        </p15:guide>
        <p15:guide id="3" orient="horz" pos="3890">
          <p15:clr>
            <a:srgbClr val="F26B43"/>
          </p15:clr>
        </p15:guide>
        <p15:guide id="4" orient="horz" pos="749">
          <p15:clr>
            <a:srgbClr val="F26B43"/>
          </p15:clr>
        </p15:guide>
        <p15:guide id="5" orient="horz" pos="254">
          <p15:clr>
            <a:srgbClr val="F26B43"/>
          </p15:clr>
        </p15:guide>
        <p15:guide id="6" pos="74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tags" Target="../tags/tag11.xml"/><Relationship Id="rId7" Type="http://schemas.openxmlformats.org/officeDocument/2006/relationships/image" Target="../media/image24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slideLayout" Target="../slideLayouts/slideLayout58.xml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CCACC08-F31D-0941-10CE-F81843913F0E}"/>
              </a:ext>
            </a:extLst>
          </p:cNvPr>
          <p:cNvSpPr/>
          <p:nvPr/>
        </p:nvSpPr>
        <p:spPr>
          <a:xfrm>
            <a:off x="0" y="2434237"/>
            <a:ext cx="12192000" cy="3558190"/>
          </a:xfrm>
          <a:prstGeom prst="rect">
            <a:avLst/>
          </a:prstGeom>
          <a:solidFill>
            <a:srgbClr val="4168A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FD44742-582B-B0EC-EC85-0860AD8ED173}"/>
              </a:ext>
            </a:extLst>
          </p:cNvPr>
          <p:cNvSpPr txBox="1"/>
          <p:nvPr/>
        </p:nvSpPr>
        <p:spPr>
          <a:xfrm>
            <a:off x="574827" y="2320506"/>
            <a:ext cx="505905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Raleway ExtraBold" panose="020B0903030101060003" pitchFamily="34" charset="0"/>
              </a:rPr>
              <a:t>Keynote Session Productivity and the One Digital Way</a:t>
            </a:r>
            <a:endParaRPr lang="en-GB" sz="4800" dirty="0">
              <a:solidFill>
                <a:schemeClr val="bg1"/>
              </a:solidFill>
              <a:latin typeface="Raleway ExtraBold" panose="020B09030301010600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48D43DF-F4E6-322D-60DA-B3A7005DC2DF}"/>
              </a:ext>
            </a:extLst>
          </p:cNvPr>
          <p:cNvSpPr txBox="1"/>
          <p:nvPr/>
        </p:nvSpPr>
        <p:spPr>
          <a:xfrm>
            <a:off x="10568082" y="1928813"/>
            <a:ext cx="155289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200" dirty="0">
                <a:solidFill>
                  <a:srgbClr val="4168A3"/>
                </a:solidFill>
                <a:latin typeface="Raleway ExtraBold" panose="020B0903030101060003" pitchFamily="34" charset="0"/>
              </a:rPr>
              <a:t>#DHSS24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9597FF0-A370-CB74-DE9D-D26C89FDD8D8}"/>
              </a:ext>
            </a:extLst>
          </p:cNvPr>
          <p:cNvSpPr txBox="1"/>
          <p:nvPr/>
        </p:nvSpPr>
        <p:spPr>
          <a:xfrm>
            <a:off x="6095999" y="2768072"/>
            <a:ext cx="27483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Raleway ExtraBold" panose="020B0903030101060003" pitchFamily="34" charset="0"/>
              </a:rPr>
              <a:t>C</a:t>
            </a:r>
            <a:r>
              <a:rPr lang="en-GB" sz="2000" dirty="0">
                <a:solidFill>
                  <a:schemeClr val="bg1"/>
                </a:solidFill>
                <a:latin typeface="Raleway ExtraBold" panose="020B0903030101060003" pitchFamily="34" charset="0"/>
              </a:rPr>
              <a:t>hair: Jon Hoeksm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D0A6E87-1136-CFA3-D986-2A5A1AFC71A4}"/>
              </a:ext>
            </a:extLst>
          </p:cNvPr>
          <p:cNvSpPr/>
          <p:nvPr/>
        </p:nvSpPr>
        <p:spPr>
          <a:xfrm flipV="1">
            <a:off x="6211409" y="3196098"/>
            <a:ext cx="191609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A250226-7D8F-EB76-2564-B3E033467FD5}"/>
              </a:ext>
            </a:extLst>
          </p:cNvPr>
          <p:cNvSpPr txBox="1"/>
          <p:nvPr/>
        </p:nvSpPr>
        <p:spPr>
          <a:xfrm>
            <a:off x="6096000" y="3338192"/>
            <a:ext cx="16231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Raleway" panose="020B0003030101060003" pitchFamily="34" charset="0"/>
              </a:rPr>
              <a:t>C</a:t>
            </a:r>
            <a:r>
              <a:rPr lang="en-US" sz="1400">
                <a:solidFill>
                  <a:schemeClr val="bg1"/>
                </a:solidFill>
                <a:latin typeface="Raleway" panose="020B0003030101060003" pitchFamily="34" charset="0"/>
              </a:rPr>
              <a:t>hief </a:t>
            </a:r>
            <a:r>
              <a:rPr lang="en-US" sz="1400" dirty="0">
                <a:solidFill>
                  <a:schemeClr val="bg1"/>
                </a:solidFill>
                <a:latin typeface="Raleway" panose="020B0003030101060003" pitchFamily="34" charset="0"/>
              </a:rPr>
              <a:t>executive, Digital Health </a:t>
            </a:r>
            <a:endParaRPr lang="en-GB" sz="1400" dirty="0">
              <a:solidFill>
                <a:schemeClr val="bg1"/>
              </a:solidFill>
              <a:latin typeface="Raleway" panose="020B00030301010600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6397005-3AF4-EE47-7CFA-02279D80A177}"/>
              </a:ext>
            </a:extLst>
          </p:cNvPr>
          <p:cNvSpPr txBox="1"/>
          <p:nvPr/>
        </p:nvSpPr>
        <p:spPr>
          <a:xfrm>
            <a:off x="8852516" y="2768072"/>
            <a:ext cx="22060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bg1"/>
                </a:solidFill>
                <a:latin typeface="Raleway ExtraBold" panose="020B0903030101060003" pitchFamily="34" charset="0"/>
              </a:rPr>
              <a:t>John Quin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C1A97FE-660D-47E9-C25E-3E39A2BE9123}"/>
              </a:ext>
            </a:extLst>
          </p:cNvPr>
          <p:cNvSpPr/>
          <p:nvPr/>
        </p:nvSpPr>
        <p:spPr>
          <a:xfrm flipV="1">
            <a:off x="8967926" y="3196098"/>
            <a:ext cx="1916097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44AB2F0-59AA-A877-3DD6-210D789D898D}"/>
              </a:ext>
            </a:extLst>
          </p:cNvPr>
          <p:cNvSpPr txBox="1"/>
          <p:nvPr/>
        </p:nvSpPr>
        <p:spPr>
          <a:xfrm>
            <a:off x="8852517" y="3338192"/>
            <a:ext cx="16231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Raleway" panose="020B0003030101060003" pitchFamily="34" charset="0"/>
              </a:rPr>
              <a:t>CIO, NHS England</a:t>
            </a:r>
          </a:p>
        </p:txBody>
      </p:sp>
      <p:pic>
        <p:nvPicPr>
          <p:cNvPr id="9" name="Picture 8" descr="A logo on a black background&#10;&#10;Description automatically generated">
            <a:extLst>
              <a:ext uri="{FF2B5EF4-FFF2-40B4-BE49-F238E27FC236}">
                <a16:creationId xmlns:a16="http://schemas.microsoft.com/office/drawing/2014/main" id="{A2224A08-960F-07ED-7FF4-006DBDA64A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310" y="311979"/>
            <a:ext cx="3895725" cy="179433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CC88498-22AD-C1DD-0D89-0DF72C76718B}"/>
              </a:ext>
            </a:extLst>
          </p:cNvPr>
          <p:cNvSpPr/>
          <p:nvPr/>
        </p:nvSpPr>
        <p:spPr>
          <a:xfrm>
            <a:off x="0" y="6720395"/>
            <a:ext cx="12192000" cy="204279"/>
          </a:xfrm>
          <a:prstGeom prst="rect">
            <a:avLst/>
          </a:prstGeom>
          <a:solidFill>
            <a:srgbClr val="009E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48186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499A9-ADAE-F54A-B49E-F294E7BCE9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89575" y="1109030"/>
            <a:ext cx="4964001" cy="2507695"/>
          </a:xfrm>
        </p:spPr>
        <p:txBody>
          <a:bodyPr/>
          <a:lstStyle/>
          <a:p>
            <a:br>
              <a:rPr lang="en-GB" sz="5400" dirty="0"/>
            </a:br>
            <a:r>
              <a:rPr lang="en-GB" sz="5400" dirty="0">
                <a:solidFill>
                  <a:schemeClr val="accent2">
                    <a:lumMod val="75000"/>
                  </a:schemeClr>
                </a:solidFill>
              </a:rPr>
              <a:t>One Digital</a:t>
            </a:r>
            <a:br>
              <a:rPr lang="en-GB" dirty="0"/>
            </a:br>
            <a:br>
              <a:rPr lang="en-GB" sz="2400" dirty="0"/>
            </a:br>
            <a:br>
              <a:rPr lang="en-GB" sz="2400" dirty="0"/>
            </a:br>
            <a:br>
              <a:rPr lang="en-GB" sz="2400" dirty="0"/>
            </a:br>
            <a:br>
              <a:rPr lang="en-GB" sz="2400" dirty="0"/>
            </a:br>
            <a:endParaRPr lang="en-GB" sz="2400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C6522560-76BB-ABAF-87A4-F4D58CBD1550}"/>
              </a:ext>
            </a:extLst>
          </p:cNvPr>
          <p:cNvSpPr txBox="1">
            <a:spLocks/>
          </p:cNvSpPr>
          <p:nvPr/>
        </p:nvSpPr>
        <p:spPr>
          <a:xfrm>
            <a:off x="1189575" y="3185576"/>
            <a:ext cx="6181216" cy="178531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ohn Quin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ief Information Officer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Picture 3" descr="A logo on a black background&#10;&#10;Description automatically generated">
            <a:extLst>
              <a:ext uri="{FF2B5EF4-FFF2-40B4-BE49-F238E27FC236}">
                <a16:creationId xmlns:a16="http://schemas.microsoft.com/office/drawing/2014/main" id="{E3C61189-3EC9-8F06-6597-88E0E50472B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9575" y="5403632"/>
            <a:ext cx="2434362" cy="1128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97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12DB576-BAD4-4543-801B-8B1B82C297F5}"/>
              </a:ext>
            </a:extLst>
          </p:cNvPr>
          <p:cNvSpPr txBox="1">
            <a:spLocks/>
          </p:cNvSpPr>
          <p:nvPr/>
        </p:nvSpPr>
        <p:spPr>
          <a:xfrm>
            <a:off x="3513760" y="153865"/>
            <a:ext cx="4777463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srgbClr val="005EB8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e Digital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FF246E-E6DE-B25A-4489-37558D598FBE}"/>
              </a:ext>
            </a:extLst>
          </p:cNvPr>
          <p:cNvSpPr txBox="1">
            <a:spLocks/>
          </p:cNvSpPr>
          <p:nvPr/>
        </p:nvSpPr>
        <p:spPr>
          <a:xfrm>
            <a:off x="1343048" y="2985849"/>
            <a:ext cx="2101651" cy="3397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e Digital Esta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EC202A-E6D1-E99C-C755-3DCB51AA49A4}"/>
              </a:ext>
            </a:extLst>
          </p:cNvPr>
          <p:cNvSpPr txBox="1">
            <a:spLocks/>
          </p:cNvSpPr>
          <p:nvPr/>
        </p:nvSpPr>
        <p:spPr>
          <a:xfrm>
            <a:off x="5128271" y="2985849"/>
            <a:ext cx="2067112" cy="3397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orkfor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35ED94-8881-7921-6D4C-A234964E84D7}"/>
              </a:ext>
            </a:extLst>
          </p:cNvPr>
          <p:cNvSpPr txBox="1">
            <a:spLocks/>
          </p:cNvSpPr>
          <p:nvPr/>
        </p:nvSpPr>
        <p:spPr>
          <a:xfrm>
            <a:off x="8836990" y="2959367"/>
            <a:ext cx="1959628" cy="49244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ople and patient servic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5D363EB-4C69-8EE5-97D3-755BE805BAB4}"/>
              </a:ext>
            </a:extLst>
          </p:cNvPr>
          <p:cNvSpPr txBox="1">
            <a:spLocks/>
          </p:cNvSpPr>
          <p:nvPr/>
        </p:nvSpPr>
        <p:spPr>
          <a:xfrm>
            <a:off x="764785" y="3438058"/>
            <a:ext cx="3342821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kumimoji="0" lang="en-US" sz="1800" b="0" i="1" u="none" strike="noStrike" kern="0" cap="none" spc="0" normalizeH="0" baseline="0" noProof="0" dirty="0" err="1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tting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in place the 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undational technology infrastructure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eded to 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ive frontline staff access to the data they need, when they need it</a:t>
            </a:r>
            <a:r>
              <a:rPr kumimoji="0" 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5F23627-95F7-EAD1-36A6-311BD6E27BAB}"/>
              </a:ext>
            </a:extLst>
          </p:cNvPr>
          <p:cNvSpPr txBox="1">
            <a:spLocks/>
          </p:cNvSpPr>
          <p:nvPr/>
        </p:nvSpPr>
        <p:spPr>
          <a:xfrm>
            <a:off x="4570962" y="3459428"/>
            <a:ext cx="3342821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kumimoji="0" lang="en-GB" sz="1600" b="0" i="1" u="none" strike="noStrike" kern="0" cap="none" spc="0" normalizeH="0" baseline="0" noProof="0" dirty="0" err="1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powering</a:t>
            </a: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GB" sz="1600" b="1" i="1" u="none" strike="noStrike" kern="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HS staff to save time</a:t>
            </a: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re easily collaborate, and provide better care through the </a:t>
            </a:r>
            <a:r>
              <a:rPr kumimoji="0" lang="en-GB" sz="1600" b="1" i="1" u="none" strike="noStrike" kern="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loyment of tools, automation and AI</a:t>
            </a:r>
            <a:endParaRPr kumimoji="0" lang="en-US" sz="1600" b="1" i="1" u="none" strike="noStrike" kern="0" cap="none" spc="0" normalizeH="0" baseline="0" noProof="0" dirty="0">
              <a:ln>
                <a:noFill/>
              </a:ln>
              <a:solidFill>
                <a:srgbClr val="005EB8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12F071-EB2E-DE99-3371-F0B8C50EE80C}"/>
              </a:ext>
            </a:extLst>
          </p:cNvPr>
          <p:cNvSpPr txBox="1">
            <a:spLocks/>
          </p:cNvSpPr>
          <p:nvPr/>
        </p:nvSpPr>
        <p:spPr>
          <a:xfrm>
            <a:off x="8240897" y="3419905"/>
            <a:ext cx="3342821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viding 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tients with the ability to manage their own care, access services and information </a:t>
            </a: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ow their care is provided by providing a 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w range of patient-facing Digital servic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ABBAC37-E31D-9232-EC06-129E268EC8A3}"/>
              </a:ext>
            </a:extLst>
          </p:cNvPr>
          <p:cNvSpPr txBox="1">
            <a:spLocks/>
          </p:cNvSpPr>
          <p:nvPr/>
        </p:nvSpPr>
        <p:spPr>
          <a:xfrm>
            <a:off x="649344" y="4838248"/>
            <a:ext cx="3180336" cy="1209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516146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gital records (e.g., EPRs)</a:t>
            </a:r>
          </a:p>
          <a:p>
            <a:pPr marL="516146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necting care</a:t>
            </a:r>
          </a:p>
          <a:p>
            <a:pPr marL="516146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ystem infrastructure</a:t>
            </a:r>
          </a:p>
          <a:p>
            <a:pPr marL="516146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tional infrastructure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F0CF36C-DBB6-BA0E-6381-41E7C6CAC801}"/>
              </a:ext>
            </a:extLst>
          </p:cNvPr>
          <p:cNvSpPr txBox="1">
            <a:spLocks/>
          </p:cNvSpPr>
          <p:nvPr/>
        </p:nvSpPr>
        <p:spPr>
          <a:xfrm>
            <a:off x="4512815" y="4987810"/>
            <a:ext cx="3532834" cy="1209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573296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gital Workplace</a:t>
            </a:r>
          </a:p>
          <a:p>
            <a:pPr marL="573296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dvanced AI assistive tools</a:t>
            </a:r>
          </a:p>
          <a:p>
            <a:pPr marL="573296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timisation for useability</a:t>
            </a:r>
          </a:p>
          <a:p>
            <a:pPr marL="573296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HS staff app</a:t>
            </a:r>
          </a:p>
          <a:p>
            <a:pPr marL="573296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GB" sz="950" b="0" i="0" u="none" strike="noStrike" kern="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GB" sz="950" b="0" i="0" u="none" strike="noStrike" kern="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B72B892-06E0-27AF-543A-EB17137144CA}"/>
              </a:ext>
            </a:extLst>
          </p:cNvPr>
          <p:cNvSpPr txBox="1">
            <a:spLocks/>
          </p:cNvSpPr>
          <p:nvPr/>
        </p:nvSpPr>
        <p:spPr>
          <a:xfrm>
            <a:off x="8117141" y="5041819"/>
            <a:ext cx="3532834" cy="120998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573296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gital front door</a:t>
            </a:r>
          </a:p>
          <a:p>
            <a:pPr marL="573296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gitally enabled prevention</a:t>
            </a:r>
          </a:p>
          <a:p>
            <a:pPr marL="573296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mproved care pathways</a:t>
            </a:r>
          </a:p>
          <a:p>
            <a:pPr marL="573296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GB" sz="950" b="0" i="0" u="none" strike="noStrike" kern="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GB" sz="950" b="0" i="0" u="none" strike="noStrike" kern="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4B8263B1-E248-9A8F-7264-8CF46E44ABD1}"/>
              </a:ext>
            </a:extLst>
          </p:cNvPr>
          <p:cNvSpPr>
            <a:spLocks/>
          </p:cNvSpPr>
          <p:nvPr/>
        </p:nvSpPr>
        <p:spPr>
          <a:xfrm>
            <a:off x="649344" y="2513129"/>
            <a:ext cx="3600603" cy="786792"/>
          </a:xfrm>
          <a:prstGeom prst="round2SameRect">
            <a:avLst/>
          </a:prstGeom>
          <a:solidFill>
            <a:srgbClr val="0072CE"/>
          </a:solidFill>
          <a:ln w="38100">
            <a:solidFill>
              <a:srgbClr val="0072C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stat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B5DF741-CEE8-5B47-9372-E38AA9B56D07}"/>
              </a:ext>
            </a:extLst>
          </p:cNvPr>
          <p:cNvSpPr>
            <a:spLocks/>
          </p:cNvSpPr>
          <p:nvPr/>
        </p:nvSpPr>
        <p:spPr>
          <a:xfrm>
            <a:off x="649344" y="3311530"/>
            <a:ext cx="3594505" cy="3006887"/>
          </a:xfrm>
          <a:prstGeom prst="rect">
            <a:avLst/>
          </a:prstGeom>
          <a:noFill/>
          <a:ln w="38100">
            <a:solidFill>
              <a:srgbClr val="0072C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ectangle: Top Corners Rounded 30">
            <a:extLst>
              <a:ext uri="{FF2B5EF4-FFF2-40B4-BE49-F238E27FC236}">
                <a16:creationId xmlns:a16="http://schemas.microsoft.com/office/drawing/2014/main" id="{15E56C6B-2F0D-E2E5-924D-F91A961DE919}"/>
              </a:ext>
            </a:extLst>
          </p:cNvPr>
          <p:cNvSpPr>
            <a:spLocks/>
          </p:cNvSpPr>
          <p:nvPr/>
        </p:nvSpPr>
        <p:spPr>
          <a:xfrm>
            <a:off x="4417468" y="2534017"/>
            <a:ext cx="3523120" cy="786792"/>
          </a:xfrm>
          <a:prstGeom prst="round2SameRect">
            <a:avLst/>
          </a:prstGeom>
          <a:solidFill>
            <a:schemeClr val="accent4"/>
          </a:solidFill>
          <a:ln w="38100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orkforc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41B37A9-9FA2-9D15-BA57-E9B41714BAB5}"/>
              </a:ext>
            </a:extLst>
          </p:cNvPr>
          <p:cNvSpPr>
            <a:spLocks/>
          </p:cNvSpPr>
          <p:nvPr/>
        </p:nvSpPr>
        <p:spPr>
          <a:xfrm>
            <a:off x="4418935" y="3311531"/>
            <a:ext cx="3523120" cy="3006886"/>
          </a:xfrm>
          <a:prstGeom prst="rect">
            <a:avLst/>
          </a:prstGeom>
          <a:noFill/>
          <a:ln w="38100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8C7154C9-9C91-38E1-792A-F3152EA46C84}"/>
              </a:ext>
            </a:extLst>
          </p:cNvPr>
          <p:cNvSpPr>
            <a:spLocks/>
          </p:cNvSpPr>
          <p:nvPr/>
        </p:nvSpPr>
        <p:spPr>
          <a:xfrm>
            <a:off x="8121665" y="2544553"/>
            <a:ext cx="3659054" cy="786792"/>
          </a:xfrm>
          <a:prstGeom prst="round2SameRect">
            <a:avLst/>
          </a:prstGeom>
          <a:solidFill>
            <a:schemeClr val="accent3"/>
          </a:solidFill>
          <a:ln w="381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tient and People Servic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EF42960-B01E-58F2-53A6-3EE8C5F544F9}"/>
              </a:ext>
            </a:extLst>
          </p:cNvPr>
          <p:cNvSpPr>
            <a:spLocks/>
          </p:cNvSpPr>
          <p:nvPr/>
        </p:nvSpPr>
        <p:spPr>
          <a:xfrm>
            <a:off x="4233447" y="971047"/>
            <a:ext cx="7483156" cy="1311316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C9B23BA0-0937-110F-F8B9-DDEBB4C86410}"/>
              </a:ext>
            </a:extLst>
          </p:cNvPr>
          <p:cNvSpPr>
            <a:spLocks/>
          </p:cNvSpPr>
          <p:nvPr/>
        </p:nvSpPr>
        <p:spPr>
          <a:xfrm rot="16200000">
            <a:off x="1780537" y="-170547"/>
            <a:ext cx="1311315" cy="3594504"/>
          </a:xfrm>
          <a:prstGeom prst="round2SameRect">
            <a:avLst/>
          </a:prstGeom>
          <a:solidFill>
            <a:schemeClr val="accent3"/>
          </a:solidFill>
          <a:ln w="381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FBBFB1-E530-6B20-592B-6A96BB8A2E3E}"/>
              </a:ext>
            </a:extLst>
          </p:cNvPr>
          <p:cNvSpPr txBox="1"/>
          <p:nvPr/>
        </p:nvSpPr>
        <p:spPr>
          <a:xfrm>
            <a:off x="1135136" y="1424875"/>
            <a:ext cx="25174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e Digital Approach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7AD160A-D6B5-0A5D-85D2-24BC37BDE905}"/>
              </a:ext>
            </a:extLst>
          </p:cNvPr>
          <p:cNvSpPr>
            <a:spLocks/>
          </p:cNvSpPr>
          <p:nvPr/>
        </p:nvSpPr>
        <p:spPr>
          <a:xfrm>
            <a:off x="8121665" y="3334806"/>
            <a:ext cx="3659054" cy="3006885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68D12D-CC2A-E6FD-BE4F-FBFCBF354251}"/>
              </a:ext>
            </a:extLst>
          </p:cNvPr>
          <p:cNvSpPr txBox="1"/>
          <p:nvPr/>
        </p:nvSpPr>
        <p:spPr>
          <a:xfrm>
            <a:off x="9816804" y="1218901"/>
            <a:ext cx="1551781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e 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e Bluepri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e Wa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0907068-0D38-1FD0-3C37-63DC92483EDF}"/>
              </a:ext>
            </a:extLst>
          </p:cNvPr>
          <p:cNvSpPr txBox="1"/>
          <p:nvPr/>
        </p:nvSpPr>
        <p:spPr>
          <a:xfrm>
            <a:off x="4417468" y="1218901"/>
            <a:ext cx="494791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help NHS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rganisations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ursue their priorities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r digital transformation while ensuring the transformation agenda is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herent across the NHS as a whole</a:t>
            </a:r>
          </a:p>
        </p:txBody>
      </p:sp>
    </p:spTree>
    <p:extLst>
      <p:ext uri="{BB962C8B-B14F-4D97-AF65-F5344CB8AC3E}">
        <p14:creationId xmlns:p14="http://schemas.microsoft.com/office/powerpoint/2010/main" val="139699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B36A66-9BEA-35E1-2B3A-FD439BCB5816}"/>
              </a:ext>
            </a:extLst>
          </p:cNvPr>
          <p:cNvSpPr txBox="1">
            <a:spLocks/>
          </p:cNvSpPr>
          <p:nvPr/>
        </p:nvSpPr>
        <p:spPr>
          <a:xfrm>
            <a:off x="4253646" y="681213"/>
            <a:ext cx="6330193" cy="568657"/>
          </a:xfrm>
          <a:prstGeom prst="rect">
            <a:avLst/>
          </a:prstGeom>
        </p:spPr>
        <p:txBody>
          <a:bodyPr vert="horz" lIns="0" tIns="0" rIns="0" bIns="0" rtlCol="0" anchor="b">
            <a:normAutofit fontScale="97500"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5EB8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to digital transformation</a:t>
            </a:r>
          </a:p>
        </p:txBody>
      </p:sp>
      <p:pic>
        <p:nvPicPr>
          <p:cNvPr id="5" name="CustomIcon">
            <a:extLst>
              <a:ext uri="{FF2B5EF4-FFF2-40B4-BE49-F238E27FC236}">
                <a16:creationId xmlns:a16="http://schemas.microsoft.com/office/drawing/2014/main" id="{326332AA-F7E4-79D6-1B8A-0AF69C9BDB02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2625" y="1915039"/>
            <a:ext cx="1248312" cy="1039031"/>
          </a:xfrm>
          <a:prstGeom prst="rect">
            <a:avLst/>
          </a:prstGeom>
        </p:spPr>
      </p:pic>
      <p:pic>
        <p:nvPicPr>
          <p:cNvPr id="6" name="CustomIcon">
            <a:extLst>
              <a:ext uri="{FF2B5EF4-FFF2-40B4-BE49-F238E27FC236}">
                <a16:creationId xmlns:a16="http://schemas.microsoft.com/office/drawing/2014/main" id="{590C6EF8-FD60-8B75-E384-032DE0D6729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74801" y="1915039"/>
            <a:ext cx="986911" cy="986911"/>
          </a:xfrm>
          <a:prstGeom prst="rect">
            <a:avLst/>
          </a:prstGeom>
        </p:spPr>
      </p:pic>
      <p:pic>
        <p:nvPicPr>
          <p:cNvPr id="7" name="CustomIcon">
            <a:extLst>
              <a:ext uri="{FF2B5EF4-FFF2-40B4-BE49-F238E27FC236}">
                <a16:creationId xmlns:a16="http://schemas.microsoft.com/office/drawing/2014/main" id="{A0C1DD6A-023C-3D9E-F583-D4132B53DC3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86972" y="1915039"/>
            <a:ext cx="986911" cy="9869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C9BD6EE-EEE3-51BA-1CA6-F3D720C1C1FC}"/>
              </a:ext>
            </a:extLst>
          </p:cNvPr>
          <p:cNvSpPr txBox="1"/>
          <p:nvPr/>
        </p:nvSpPr>
        <p:spPr>
          <a:xfrm>
            <a:off x="962625" y="3149051"/>
            <a:ext cx="1618056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e Bluepri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7A954B-823C-BC1A-67D9-072111049A1C}"/>
              </a:ext>
            </a:extLst>
          </p:cNvPr>
          <p:cNvSpPr txBox="1"/>
          <p:nvPr/>
        </p:nvSpPr>
        <p:spPr>
          <a:xfrm>
            <a:off x="4874802" y="3149051"/>
            <a:ext cx="1618056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e Tea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B56AC3-6392-2097-80E8-2BD66E791AA6}"/>
              </a:ext>
            </a:extLst>
          </p:cNvPr>
          <p:cNvSpPr txBox="1"/>
          <p:nvPr/>
        </p:nvSpPr>
        <p:spPr>
          <a:xfrm>
            <a:off x="8786973" y="3149051"/>
            <a:ext cx="1618056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e Wa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0DD5B62-EF31-0F79-8994-2A219B5BF5C9}"/>
              </a:ext>
            </a:extLst>
          </p:cNvPr>
          <p:cNvSpPr txBox="1"/>
          <p:nvPr/>
        </p:nvSpPr>
        <p:spPr>
          <a:xfrm>
            <a:off x="962625" y="3621966"/>
            <a:ext cx="1896581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common architecture for national data and technology in place across NHS organisa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79A0B2-10C4-88A1-7CE7-827FD50D2C48}"/>
              </a:ext>
            </a:extLst>
          </p:cNvPr>
          <p:cNvSpPr txBox="1"/>
          <p:nvPr/>
        </p:nvSpPr>
        <p:spPr>
          <a:xfrm>
            <a:off x="4874803" y="3621966"/>
            <a:ext cx="2071908" cy="1969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veloping existing profession of digital, data and technology staff and ensuring capabilities to deliver on the ambition for the NHS digital transformation pla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2DAB5AE-2827-5C65-3F23-CBF711367FC3}"/>
              </a:ext>
            </a:extLst>
          </p:cNvPr>
          <p:cNvSpPr txBox="1"/>
          <p:nvPr/>
        </p:nvSpPr>
        <p:spPr>
          <a:xfrm>
            <a:off x="8786974" y="3621966"/>
            <a:ext cx="1994758" cy="1969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2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common set of frameworks, standards, controls and design principles that help ensure digital maturity and coherence across the NHS and market provide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F5535AB-7493-9A2B-7617-0F8C53A95C5F}"/>
              </a:ext>
            </a:extLst>
          </p:cNvPr>
          <p:cNvSpPr>
            <a:spLocks/>
          </p:cNvSpPr>
          <p:nvPr/>
        </p:nvSpPr>
        <p:spPr>
          <a:xfrm>
            <a:off x="4008259" y="327048"/>
            <a:ext cx="7483156" cy="1311316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231F2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2885DB6D-B3FC-C98D-61EB-DB7A1A32640B}"/>
              </a:ext>
            </a:extLst>
          </p:cNvPr>
          <p:cNvSpPr>
            <a:spLocks/>
          </p:cNvSpPr>
          <p:nvPr/>
        </p:nvSpPr>
        <p:spPr>
          <a:xfrm rot="16200000">
            <a:off x="1555349" y="-814546"/>
            <a:ext cx="1311315" cy="3594504"/>
          </a:xfrm>
          <a:prstGeom prst="round2SameRect">
            <a:avLst/>
          </a:prstGeom>
          <a:solidFill>
            <a:schemeClr val="accent3"/>
          </a:solidFill>
          <a:ln w="38100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600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F67FCA4-C3B0-82C5-EF7C-38FE9D3ECB1F}"/>
              </a:ext>
            </a:extLst>
          </p:cNvPr>
          <p:cNvSpPr txBox="1"/>
          <p:nvPr/>
        </p:nvSpPr>
        <p:spPr>
          <a:xfrm>
            <a:off x="730249" y="788205"/>
            <a:ext cx="29387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e Digital Approach</a:t>
            </a:r>
          </a:p>
        </p:txBody>
      </p:sp>
    </p:spTree>
    <p:extLst>
      <p:ext uri="{BB962C8B-B14F-4D97-AF65-F5344CB8AC3E}">
        <p14:creationId xmlns:p14="http://schemas.microsoft.com/office/powerpoint/2010/main" val="162676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LASSIFICATION" val="No_Classificati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HSD-Refresh-Theme-NOV1120B">
  <a:themeElements>
    <a:clrScheme name="Custom 211">
      <a:dk1>
        <a:srgbClr val="FFFFFF"/>
      </a:dk1>
      <a:lt1>
        <a:srgbClr val="231F20"/>
      </a:lt1>
      <a:dk2>
        <a:srgbClr val="005EB8"/>
      </a:dk2>
      <a:lt2>
        <a:srgbClr val="F4F6F8"/>
      </a:lt2>
      <a:accent1>
        <a:srgbClr val="003087"/>
      </a:accent1>
      <a:accent2>
        <a:srgbClr val="005EB8"/>
      </a:accent2>
      <a:accent3>
        <a:srgbClr val="00A9CE"/>
      </a:accent3>
      <a:accent4>
        <a:srgbClr val="00A499"/>
      </a:accent4>
      <a:accent5>
        <a:srgbClr val="82CECB"/>
      </a:accent5>
      <a:accent6>
        <a:srgbClr val="425563"/>
      </a:accent6>
      <a:hlink>
        <a:srgbClr val="005EB8"/>
      </a:hlink>
      <a:folHlink>
        <a:srgbClr val="0030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HSD-PPT-Template-Refresh_NOV2020-B" id="{06B772CD-B1AE-2743-BE7F-0BA8B46714EA}" vid="{16F65E12-3586-BC44-90B1-43C17D38503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37e8048-7f47-46c3-9f5d-bf2bf54c9279">
      <Terms xmlns="http://schemas.microsoft.com/office/infopath/2007/PartnerControls"/>
    </lcf76f155ced4ddcb4097134ff3c332f>
    <TaxCatchAll xmlns="812061dd-523a-47bf-9db5-a71fd49c94a4" xsi:nil="true"/>
    <_ip_UnifiedCompliancePolicyUIAction xmlns="http://schemas.microsoft.com/sharepoint/v3" xsi:nil="true"/>
    <_ip_UnifiedCompliancePolicyProperties xmlns="http://schemas.microsoft.com/sharepoint/v3" xsi:nil="true"/>
    <Picture xmlns="e37e8048-7f47-46c3-9f5d-bf2bf54c9279">
      <Url xsi:nil="true"/>
      <Description xsi:nil="true"/>
    </Pictur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532358C74A89A419650AD017E1FAC40" ma:contentTypeVersion="21" ma:contentTypeDescription="Create a new document." ma:contentTypeScope="" ma:versionID="dd6c4204f5074b5410a9afb8b5a8e5b9">
  <xsd:schema xmlns:xsd="http://www.w3.org/2001/XMLSchema" xmlns:xs="http://www.w3.org/2001/XMLSchema" xmlns:p="http://schemas.microsoft.com/office/2006/metadata/properties" xmlns:ns1="http://schemas.microsoft.com/sharepoint/v3" xmlns:ns2="e37e8048-7f47-46c3-9f5d-bf2bf54c9279" xmlns:ns3="812061dd-523a-47bf-9db5-a71fd49c94a4" targetNamespace="http://schemas.microsoft.com/office/2006/metadata/properties" ma:root="true" ma:fieldsID="d891b9df4695bf4b034ff6e5d348055e" ns1:_="" ns2:_="" ns3:_="">
    <xsd:import namespace="http://schemas.microsoft.com/sharepoint/v3"/>
    <xsd:import namespace="e37e8048-7f47-46c3-9f5d-bf2bf54c9279"/>
    <xsd:import namespace="812061dd-523a-47bf-9db5-a71fd49c94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Picture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7e8048-7f47-46c3-9f5d-bf2bf54c92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Picture" ma:index="21" nillable="true" ma:displayName="Picture" ma:format="Image" ma:internalName="Pictur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fe36c5f2-2d8c-4cc3-a61b-4b56d022d32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2061dd-523a-47bf-9db5-a71fd49c94a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98d9916-7899-4a6c-b68a-d60d75cd35ea}" ma:internalName="TaxCatchAll" ma:showField="CatchAllData" ma:web="812061dd-523a-47bf-9db5-a71fd49c94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2AEAEAE-E04C-469A-98F3-191929743DD0}">
  <ds:schemaRefs>
    <ds:schemaRef ds:uri="812061dd-523a-47bf-9db5-a71fd49c94a4"/>
    <ds:schemaRef ds:uri="bb4f4c61-b71f-465f-b187-a2d98c00a19c"/>
    <ds:schemaRef ds:uri="http://schemas.microsoft.com/office/2006/metadata/properties"/>
    <ds:schemaRef ds:uri="http://schemas.microsoft.com/office/infopath/2007/PartnerControls"/>
    <ds:schemaRef ds:uri="18b93cbd-54e9-40da-9070-514ff6179ef4"/>
    <ds:schemaRef ds:uri="1659905f-6782-415b-9fb5-da250abc3541"/>
    <ds:schemaRef ds:uri="e37e8048-7f47-46c3-9f5d-bf2bf54c9279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E4F22771-4CC7-4E0B-A033-0B6983EAC73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37e8048-7f47-46c3-9f5d-bf2bf54c9279"/>
    <ds:schemaRef ds:uri="812061dd-523a-47bf-9db5-a71fd49c94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F44AD1F-85D0-4E49-ACF2-6B9339AC9D8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</TotalTime>
  <Words>279</Words>
  <Application>Microsoft Office PowerPoint</Application>
  <PresentationFormat>Widescreen</PresentationFormat>
  <Paragraphs>45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5" baseType="lpstr">
      <vt:lpstr>Aptos</vt:lpstr>
      <vt:lpstr>Arial</vt:lpstr>
      <vt:lpstr>Calibri</vt:lpstr>
      <vt:lpstr>Calibri Light</vt:lpstr>
      <vt:lpstr>Raleway</vt:lpstr>
      <vt:lpstr>Raleway ExtraBold</vt:lpstr>
      <vt:lpstr>Segoe UI</vt:lpstr>
      <vt:lpstr>Wingdings</vt:lpstr>
      <vt:lpstr>Office Theme</vt:lpstr>
      <vt:lpstr>NHSD-Refresh-Theme-NOV1120B</vt:lpstr>
      <vt:lpstr>think-cell Slide</vt:lpstr>
      <vt:lpstr>PowerPoint Presentation</vt:lpstr>
      <vt:lpstr> One Digital    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Teece</dc:creator>
  <cp:lastModifiedBy>Sebastian Raphael Biggs</cp:lastModifiedBy>
  <cp:revision>7</cp:revision>
  <dcterms:created xsi:type="dcterms:W3CDTF">2023-07-13T09:12:47Z</dcterms:created>
  <dcterms:modified xsi:type="dcterms:W3CDTF">2024-07-18T06:5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32358C74A89A419650AD017E1FAC40</vt:lpwstr>
  </property>
  <property fmtid="{D5CDD505-2E9C-101B-9397-08002B2CF9AE}" pid="3" name="MediaServiceImageTags">
    <vt:lpwstr/>
  </property>
</Properties>
</file>